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8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9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0.xml" ContentType="application/vnd.openxmlformats-officedocument.presentationml.tags+xml"/>
  <Override PartName="/ppt/notesSlides/notesSlide19.xml" ContentType="application/vnd.openxmlformats-officedocument.presentationml.notesSlide+xml"/>
  <Override PartName="/ppt/tags/tag11.xml" ContentType="application/vnd.openxmlformats-officedocument.presentationml.tags+xml"/>
  <Override PartName="/ppt/notesSlides/notesSlide20.xml" ContentType="application/vnd.openxmlformats-officedocument.presentationml.notesSlide+xml"/>
  <Override PartName="/ppt/tags/tag12.xml" ContentType="application/vnd.openxmlformats-officedocument.presentationml.tags+xml"/>
  <Override PartName="/ppt/notesSlides/notesSlide21.xml" ContentType="application/vnd.openxmlformats-officedocument.presentationml.notesSlide+xml"/>
  <Override PartName="/ppt/tags/tag13.xml" ContentType="application/vnd.openxmlformats-officedocument.presentationml.tags+xml"/>
  <Override PartName="/ppt/notesSlides/notesSlide22.xml" ContentType="application/vnd.openxmlformats-officedocument.presentationml.notesSlide+xml"/>
  <Override PartName="/ppt/tags/tag14.xml" ContentType="application/vnd.openxmlformats-officedocument.presentationml.tags+xml"/>
  <Override PartName="/ppt/notesSlides/notesSlide23.xml" ContentType="application/vnd.openxmlformats-officedocument.presentationml.notesSlide+xml"/>
  <Override PartName="/ppt/tags/tag15.xml" ContentType="application/vnd.openxmlformats-officedocument.presentationml.tags+xml"/>
  <Override PartName="/ppt/notesSlides/notesSlide24.xml" ContentType="application/vnd.openxmlformats-officedocument.presentationml.notesSlide+xml"/>
  <Override PartName="/ppt/tags/tag16.xml" ContentType="application/vnd.openxmlformats-officedocument.presentationml.tags+xml"/>
  <Override PartName="/ppt/notesSlides/notesSlide25.xml" ContentType="application/vnd.openxmlformats-officedocument.presentationml.notesSlide+xml"/>
  <Override PartName="/ppt/tags/tag17.xml" ContentType="application/vnd.openxmlformats-officedocument.presentationml.tags+xml"/>
  <Override PartName="/ppt/notesSlides/notesSlide26.xml" ContentType="application/vnd.openxmlformats-officedocument.presentationml.notesSlide+xml"/>
  <Override PartName="/ppt/tags/tag18.xml" ContentType="application/vnd.openxmlformats-officedocument.presentationml.tags+xml"/>
  <Override PartName="/ppt/notesSlides/notesSlide27.xml" ContentType="application/vnd.openxmlformats-officedocument.presentationml.notesSlide+xml"/>
  <Override PartName="/ppt/tags/tag19.xml" ContentType="application/vnd.openxmlformats-officedocument.presentationml.tags+xml"/>
  <Override PartName="/ppt/notesSlides/notesSlide28.xml" ContentType="application/vnd.openxmlformats-officedocument.presentationml.notesSlide+xml"/>
  <Override PartName="/ppt/tags/tag20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8"/>
  </p:notesMasterIdLst>
  <p:sldIdLst>
    <p:sldId id="2561" r:id="rId2"/>
    <p:sldId id="2562" r:id="rId3"/>
    <p:sldId id="2589" r:id="rId4"/>
    <p:sldId id="2590" r:id="rId5"/>
    <p:sldId id="2591" r:id="rId6"/>
    <p:sldId id="2592" r:id="rId7"/>
    <p:sldId id="2593" r:id="rId8"/>
    <p:sldId id="2567" r:id="rId9"/>
    <p:sldId id="2568" r:id="rId10"/>
    <p:sldId id="2569" r:id="rId11"/>
    <p:sldId id="2570" r:id="rId12"/>
    <p:sldId id="2563" r:id="rId13"/>
    <p:sldId id="2564" r:id="rId14"/>
    <p:sldId id="2565" r:id="rId15"/>
    <p:sldId id="2566" r:id="rId16"/>
    <p:sldId id="2571" r:id="rId17"/>
    <p:sldId id="2572" r:id="rId18"/>
    <p:sldId id="2574" r:id="rId19"/>
    <p:sldId id="2575" r:id="rId20"/>
    <p:sldId id="2585" r:id="rId21"/>
    <p:sldId id="2594" r:id="rId22"/>
    <p:sldId id="2595" r:id="rId23"/>
    <p:sldId id="2596" r:id="rId24"/>
    <p:sldId id="2597" r:id="rId25"/>
    <p:sldId id="2598" r:id="rId26"/>
    <p:sldId id="2599" r:id="rId27"/>
    <p:sldId id="2600" r:id="rId28"/>
    <p:sldId id="2601" r:id="rId29"/>
    <p:sldId id="2602" r:id="rId30"/>
    <p:sldId id="2576" r:id="rId31"/>
    <p:sldId id="2577" r:id="rId32"/>
    <p:sldId id="2578" r:id="rId33"/>
    <p:sldId id="2579" r:id="rId34"/>
    <p:sldId id="2581" r:id="rId35"/>
    <p:sldId id="2582" r:id="rId36"/>
    <p:sldId id="2587" r:id="rId37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rabalho final de CD - MDT Grupo 5 - Capa, Apresentação e Tópicos" id="{5383E44F-55BB-4FC2-A544-F5A5CD3E75A5}">
          <p14:sldIdLst>
            <p14:sldId id="2561"/>
            <p14:sldId id="2562"/>
            <p14:sldId id="2589"/>
          </p14:sldIdLst>
        </p14:section>
        <p14:section name="Apresentaçao da SpaceX e do Falcon 9" id="{6CB727D8-E6D2-4EE0-A04E-ECB42510D3A7}">
          <p14:sldIdLst>
            <p14:sldId id="2590"/>
            <p14:sldId id="2591"/>
            <p14:sldId id="2592"/>
            <p14:sldId id="2593"/>
          </p14:sldIdLst>
        </p14:section>
        <p14:section name="Parte 1 - Coleta e Preparação dos Dados" id="{899987A4-CB31-46C5-B063-3A9A70992783}">
          <p14:sldIdLst>
            <p14:sldId id="2567"/>
            <p14:sldId id="2568"/>
            <p14:sldId id="2569"/>
            <p14:sldId id="2570"/>
          </p14:sldIdLst>
        </p14:section>
        <p14:section name="Parte 2 - Exploratória de Dados (AED) - Gráfica" id="{142C78CE-D77A-47EE-8B7F-A1FEAE2CABAA}">
          <p14:sldIdLst>
            <p14:sldId id="2563"/>
            <p14:sldId id="2564"/>
            <p14:sldId id="2565"/>
            <p14:sldId id="2566"/>
          </p14:sldIdLst>
        </p14:section>
        <p14:section name="Parte 2 - Técnicas de Visualização de Dados" id="{840D6F09-6560-473A-9BEF-09EB0642AE05}">
          <p14:sldIdLst>
            <p14:sldId id="2571"/>
            <p14:sldId id="2572"/>
            <p14:sldId id="2574"/>
          </p14:sldIdLst>
        </p14:section>
        <p14:section name="Parte 2 - Análises Gráficas para o tema proposto" id="{43DDCEC7-E20A-4D87-A6DF-A4AE2CA1626A}">
          <p14:sldIdLst>
            <p14:sldId id="2575"/>
            <p14:sldId id="2585"/>
            <p14:sldId id="2594"/>
            <p14:sldId id="2595"/>
            <p14:sldId id="2596"/>
            <p14:sldId id="2597"/>
            <p14:sldId id="2598"/>
            <p14:sldId id="2599"/>
            <p14:sldId id="2600"/>
            <p14:sldId id="2601"/>
            <p14:sldId id="2602"/>
          </p14:sldIdLst>
        </p14:section>
        <p14:section name="Análise estatística descritiva" id="{258F4923-727C-42C3-A708-625F23C2E4E9}">
          <p14:sldIdLst>
            <p14:sldId id="2576"/>
            <p14:sldId id="2577"/>
            <p14:sldId id="2578"/>
          </p14:sldIdLst>
        </p14:section>
        <p14:section name="Estudo de correlações e relações" id="{82D75CBD-247B-4997-96DF-481EE9BBE1E6}">
          <p14:sldIdLst>
            <p14:sldId id="2579"/>
            <p14:sldId id="2581"/>
            <p14:sldId id="2582"/>
          </p14:sldIdLst>
        </p14:section>
        <p14:section name="Conclusão" id="{70016A9D-B9BC-4D19-B45B-A0DE73009AAB}">
          <p14:sldIdLst>
            <p14:sldId id="258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E9DEF"/>
    <a:srgbClr val="93E2FF"/>
    <a:srgbClr val="96EACA"/>
    <a:srgbClr val="B6C3F5"/>
    <a:srgbClr val="8BEEF6"/>
    <a:srgbClr val="E0B1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D18203E-ABB4-4205-BD02-C87CB632F49D}" v="6761" dt="2024-11-22T19:16:15.79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99" d="100"/>
          <a:sy n="99" d="100"/>
        </p:scale>
        <p:origin x="306" y="3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microsoft.com/office/2016/11/relationships/changesInfo" Target="changesInfos/changesInfo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re Fettermann Coutinho" userId="ba535c39-4054-42b2-abac-b5d0a4c19ecc" providerId="ADAL" clId="{9D18203E-ABB4-4205-BD02-C87CB632F49D}"/>
    <pc:docChg chg="undo custSel addSld delSld modSld sldOrd modMainMaster addSection delSection modSection">
      <pc:chgData name="Alexandre Fettermann Coutinho" userId="ba535c39-4054-42b2-abac-b5d0a4c19ecc" providerId="ADAL" clId="{9D18203E-ABB4-4205-BD02-C87CB632F49D}" dt="2024-11-22T19:16:15.825" v="9957" actId="27636"/>
      <pc:docMkLst>
        <pc:docMk/>
      </pc:docMkLst>
      <pc:sldChg chg="modSp add del mod setBg">
        <pc:chgData name="Alexandre Fettermann Coutinho" userId="ba535c39-4054-42b2-abac-b5d0a4c19ecc" providerId="ADAL" clId="{9D18203E-ABB4-4205-BD02-C87CB632F49D}" dt="2024-11-21T11:19:03.620" v="1130" actId="47"/>
        <pc:sldMkLst>
          <pc:docMk/>
          <pc:sldMk cId="2947755840" sldId="291"/>
        </pc:sldMkLst>
        <pc:spChg chg="mod">
          <ac:chgData name="Alexandre Fettermann Coutinho" userId="ba535c39-4054-42b2-abac-b5d0a4c19ecc" providerId="ADAL" clId="{9D18203E-ABB4-4205-BD02-C87CB632F49D}" dt="2024-11-21T11:18:58.562" v="1129" actId="27636"/>
          <ac:spMkLst>
            <pc:docMk/>
            <pc:sldMk cId="2947755840" sldId="291"/>
            <ac:spMk id="2" creationId="{87926A82-6166-466D-A3A3-E32A7AC2BFCA}"/>
          </ac:spMkLst>
        </pc:spChg>
      </pc:sldChg>
      <pc:sldChg chg="addSp delSp modSp mod">
        <pc:chgData name="Alexandre Fettermann Coutinho" userId="ba535c39-4054-42b2-abac-b5d0a4c19ecc" providerId="ADAL" clId="{9D18203E-ABB4-4205-BD02-C87CB632F49D}" dt="2024-11-22T16:18:14.509" v="4405" actId="20577"/>
        <pc:sldMkLst>
          <pc:docMk/>
          <pc:sldMk cId="2794895206" sldId="2561"/>
        </pc:sldMkLst>
        <pc:spChg chg="mod">
          <ac:chgData name="Alexandre Fettermann Coutinho" userId="ba535c39-4054-42b2-abac-b5d0a4c19ecc" providerId="ADAL" clId="{9D18203E-ABB4-4205-BD02-C87CB632F49D}" dt="2024-11-21T10:59:41.590" v="683"/>
          <ac:spMkLst>
            <pc:docMk/>
            <pc:sldMk cId="2794895206" sldId="2561"/>
            <ac:spMk id="2" creationId="{DF456A82-D88F-0067-69EC-988CBED2B84B}"/>
          </ac:spMkLst>
        </pc:spChg>
        <pc:spChg chg="mod">
          <ac:chgData name="Alexandre Fettermann Coutinho" userId="ba535c39-4054-42b2-abac-b5d0a4c19ecc" providerId="ADAL" clId="{9D18203E-ABB4-4205-BD02-C87CB632F49D}" dt="2024-11-22T16:18:14.509" v="4405" actId="20577"/>
          <ac:spMkLst>
            <pc:docMk/>
            <pc:sldMk cId="2794895206" sldId="2561"/>
            <ac:spMk id="3" creationId="{DD9AE532-A2E2-CEE1-1D4E-E81C15F689C1}"/>
          </ac:spMkLst>
        </pc:spChg>
        <pc:spChg chg="add del mod modVis">
          <ac:chgData name="Alexandre Fettermann Coutinho" userId="ba535c39-4054-42b2-abac-b5d0a4c19ecc" providerId="ADAL" clId="{9D18203E-ABB4-4205-BD02-C87CB632F49D}" dt="2024-11-21T10:47:21.659" v="62"/>
          <ac:spMkLst>
            <pc:docMk/>
            <pc:sldMk cId="2794895206" sldId="2561"/>
            <ac:spMk id="5" creationId="{1B96912F-E9F0-F0D5-D043-5A7772257A93}"/>
          </ac:spMkLst>
        </pc:spChg>
        <pc:spChg chg="add del mod modVis">
          <ac:chgData name="Alexandre Fettermann Coutinho" userId="ba535c39-4054-42b2-abac-b5d0a4c19ecc" providerId="ADAL" clId="{9D18203E-ABB4-4205-BD02-C87CB632F49D}" dt="2024-11-21T10:47:22.194" v="100"/>
          <ac:spMkLst>
            <pc:docMk/>
            <pc:sldMk cId="2794895206" sldId="2561"/>
            <ac:spMk id="7" creationId="{48B263A1-D17C-18DA-9FB2-B284B1E5F8C7}"/>
          </ac:spMkLst>
        </pc:spChg>
        <pc:spChg chg="add del mod modVis">
          <ac:chgData name="Alexandre Fettermann Coutinho" userId="ba535c39-4054-42b2-abac-b5d0a4c19ecc" providerId="ADAL" clId="{9D18203E-ABB4-4205-BD02-C87CB632F49D}" dt="2024-11-21T10:47:24.212" v="137"/>
          <ac:spMkLst>
            <pc:docMk/>
            <pc:sldMk cId="2794895206" sldId="2561"/>
            <ac:spMk id="8" creationId="{E128C66C-BEF3-252F-0AA7-3297B3CA0FA9}"/>
          </ac:spMkLst>
        </pc:spChg>
        <pc:spChg chg="add del mod modVis">
          <ac:chgData name="Alexandre Fettermann Coutinho" userId="ba535c39-4054-42b2-abac-b5d0a4c19ecc" providerId="ADAL" clId="{9D18203E-ABB4-4205-BD02-C87CB632F49D}" dt="2024-11-21T10:47:29.398" v="165"/>
          <ac:spMkLst>
            <pc:docMk/>
            <pc:sldMk cId="2794895206" sldId="2561"/>
            <ac:spMk id="10" creationId="{0287253A-E8D3-F3C3-9068-5F2347E9C0E4}"/>
          </ac:spMkLst>
        </pc:spChg>
        <pc:spChg chg="add del mod modVis">
          <ac:chgData name="Alexandre Fettermann Coutinho" userId="ba535c39-4054-42b2-abac-b5d0a4c19ecc" providerId="ADAL" clId="{9D18203E-ABB4-4205-BD02-C87CB632F49D}" dt="2024-11-21T10:47:30.201" v="192"/>
          <ac:spMkLst>
            <pc:docMk/>
            <pc:sldMk cId="2794895206" sldId="2561"/>
            <ac:spMk id="12" creationId="{042BA7AF-8CB3-E795-3D01-E041CA2C280B}"/>
          </ac:spMkLst>
        </pc:spChg>
        <pc:spChg chg="add del mod modVis">
          <ac:chgData name="Alexandre Fettermann Coutinho" userId="ba535c39-4054-42b2-abac-b5d0a4c19ecc" providerId="ADAL" clId="{9D18203E-ABB4-4205-BD02-C87CB632F49D}" dt="2024-11-21T10:47:32.061" v="226"/>
          <ac:spMkLst>
            <pc:docMk/>
            <pc:sldMk cId="2794895206" sldId="2561"/>
            <ac:spMk id="13" creationId="{3A0C22EF-0F15-08C6-736B-B9E6C8099C0C}"/>
          </ac:spMkLst>
        </pc:spChg>
        <pc:spChg chg="add del mod modVis">
          <ac:chgData name="Alexandre Fettermann Coutinho" userId="ba535c39-4054-42b2-abac-b5d0a4c19ecc" providerId="ADAL" clId="{9D18203E-ABB4-4205-BD02-C87CB632F49D}" dt="2024-11-21T10:47:33.410" v="256"/>
          <ac:spMkLst>
            <pc:docMk/>
            <pc:sldMk cId="2794895206" sldId="2561"/>
            <ac:spMk id="14" creationId="{4F0C0C3D-F02F-6542-89AF-3435691F75F5}"/>
          </ac:spMkLst>
        </pc:spChg>
        <pc:spChg chg="add del mod modVis">
          <ac:chgData name="Alexandre Fettermann Coutinho" userId="ba535c39-4054-42b2-abac-b5d0a4c19ecc" providerId="ADAL" clId="{9D18203E-ABB4-4205-BD02-C87CB632F49D}" dt="2024-11-21T10:56:59.644" v="296"/>
          <ac:spMkLst>
            <pc:docMk/>
            <pc:sldMk cId="2794895206" sldId="2561"/>
            <ac:spMk id="15" creationId="{82FF820B-62C8-7C5A-4059-1F1819F0DB8D}"/>
          </ac:spMkLst>
        </pc:spChg>
        <pc:spChg chg="add del mod modVis">
          <ac:chgData name="Alexandre Fettermann Coutinho" userId="ba535c39-4054-42b2-abac-b5d0a4c19ecc" providerId="ADAL" clId="{9D18203E-ABB4-4205-BD02-C87CB632F49D}" dt="2024-11-21T10:57:05.635" v="330"/>
          <ac:spMkLst>
            <pc:docMk/>
            <pc:sldMk cId="2794895206" sldId="2561"/>
            <ac:spMk id="16" creationId="{DDCD9A85-450F-4D8D-B907-36626BF44CAF}"/>
          </ac:spMkLst>
        </pc:spChg>
        <pc:spChg chg="add del mod modVis">
          <ac:chgData name="Alexandre Fettermann Coutinho" userId="ba535c39-4054-42b2-abac-b5d0a4c19ecc" providerId="ADAL" clId="{9D18203E-ABB4-4205-BD02-C87CB632F49D}" dt="2024-11-21T10:57:06.161" v="362"/>
          <ac:spMkLst>
            <pc:docMk/>
            <pc:sldMk cId="2794895206" sldId="2561"/>
            <ac:spMk id="17" creationId="{C5DD3C0D-E206-B70F-A385-B1AD3A0AE537}"/>
          </ac:spMkLst>
        </pc:spChg>
        <pc:spChg chg="add del mod modVis">
          <ac:chgData name="Alexandre Fettermann Coutinho" userId="ba535c39-4054-42b2-abac-b5d0a4c19ecc" providerId="ADAL" clId="{9D18203E-ABB4-4205-BD02-C87CB632F49D}" dt="2024-11-21T10:57:08.763" v="395"/>
          <ac:spMkLst>
            <pc:docMk/>
            <pc:sldMk cId="2794895206" sldId="2561"/>
            <ac:spMk id="18" creationId="{D3168A37-D30C-6C26-F733-5D2A2A550ADA}"/>
          </ac:spMkLst>
        </pc:spChg>
        <pc:spChg chg="add del mod modVis">
          <ac:chgData name="Alexandre Fettermann Coutinho" userId="ba535c39-4054-42b2-abac-b5d0a4c19ecc" providerId="ADAL" clId="{9D18203E-ABB4-4205-BD02-C87CB632F49D}" dt="2024-11-21T10:57:10.811" v="428"/>
          <ac:spMkLst>
            <pc:docMk/>
            <pc:sldMk cId="2794895206" sldId="2561"/>
            <ac:spMk id="19" creationId="{41DF7F19-8A2F-54D5-DBA3-CF5A1CFFE9C1}"/>
          </ac:spMkLst>
        </pc:spChg>
        <pc:spChg chg="add del mod modVis">
          <ac:chgData name="Alexandre Fettermann Coutinho" userId="ba535c39-4054-42b2-abac-b5d0a4c19ecc" providerId="ADAL" clId="{9D18203E-ABB4-4205-BD02-C87CB632F49D}" dt="2024-11-21T10:57:15.024" v="461"/>
          <ac:spMkLst>
            <pc:docMk/>
            <pc:sldMk cId="2794895206" sldId="2561"/>
            <ac:spMk id="20" creationId="{DB5F5CD7-9153-75AD-E7EC-54BC761D8526}"/>
          </ac:spMkLst>
        </pc:spChg>
        <pc:spChg chg="add del mod modVis">
          <ac:chgData name="Alexandre Fettermann Coutinho" userId="ba535c39-4054-42b2-abac-b5d0a4c19ecc" providerId="ADAL" clId="{9D18203E-ABB4-4205-BD02-C87CB632F49D}" dt="2024-11-21T10:59:31.150" v="504"/>
          <ac:spMkLst>
            <pc:docMk/>
            <pc:sldMk cId="2794895206" sldId="2561"/>
            <ac:spMk id="21" creationId="{E94280CE-406F-15AF-B961-ED5EC1A1EACA}"/>
          </ac:spMkLst>
        </pc:spChg>
        <pc:spChg chg="add del mod modVis">
          <ac:chgData name="Alexandre Fettermann Coutinho" userId="ba535c39-4054-42b2-abac-b5d0a4c19ecc" providerId="ADAL" clId="{9D18203E-ABB4-4205-BD02-C87CB632F49D}" dt="2024-11-21T10:59:32.020" v="537"/>
          <ac:spMkLst>
            <pc:docMk/>
            <pc:sldMk cId="2794895206" sldId="2561"/>
            <ac:spMk id="22" creationId="{FD13621B-2255-D87E-7FAA-3724955D17A0}"/>
          </ac:spMkLst>
        </pc:spChg>
        <pc:spChg chg="add del mod modVis">
          <ac:chgData name="Alexandre Fettermann Coutinho" userId="ba535c39-4054-42b2-abac-b5d0a4c19ecc" providerId="ADAL" clId="{9D18203E-ABB4-4205-BD02-C87CB632F49D}" dt="2024-11-21T10:59:33.643" v="571"/>
          <ac:spMkLst>
            <pc:docMk/>
            <pc:sldMk cId="2794895206" sldId="2561"/>
            <ac:spMk id="23" creationId="{8E202970-86B0-052E-9239-823AC22D366F}"/>
          </ac:spMkLst>
        </pc:spChg>
        <pc:spChg chg="add del mod modVis">
          <ac:chgData name="Alexandre Fettermann Coutinho" userId="ba535c39-4054-42b2-abac-b5d0a4c19ecc" providerId="ADAL" clId="{9D18203E-ABB4-4205-BD02-C87CB632F49D}" dt="2024-11-21T10:59:35.176" v="606"/>
          <ac:spMkLst>
            <pc:docMk/>
            <pc:sldMk cId="2794895206" sldId="2561"/>
            <ac:spMk id="24" creationId="{7FE68297-7317-8E6F-F536-C2E04F4CC18E}"/>
          </ac:spMkLst>
        </pc:spChg>
        <pc:spChg chg="add del mod modVis">
          <ac:chgData name="Alexandre Fettermann Coutinho" userId="ba535c39-4054-42b2-abac-b5d0a4c19ecc" providerId="ADAL" clId="{9D18203E-ABB4-4205-BD02-C87CB632F49D}" dt="2024-11-21T10:59:36.004" v="641"/>
          <ac:spMkLst>
            <pc:docMk/>
            <pc:sldMk cId="2794895206" sldId="2561"/>
            <ac:spMk id="25" creationId="{34A97A85-E2C2-481D-3C55-D60EDA950A60}"/>
          </ac:spMkLst>
        </pc:spChg>
        <pc:spChg chg="add del mod modVis">
          <ac:chgData name="Alexandre Fettermann Coutinho" userId="ba535c39-4054-42b2-abac-b5d0a4c19ecc" providerId="ADAL" clId="{9D18203E-ABB4-4205-BD02-C87CB632F49D}" dt="2024-11-21T10:59:36.604" v="674"/>
          <ac:spMkLst>
            <pc:docMk/>
            <pc:sldMk cId="2794895206" sldId="2561"/>
            <ac:spMk id="26" creationId="{0EB7EFA9-D463-4016-5750-DB0AF0D707F9}"/>
          </ac:spMkLst>
        </pc:spChg>
        <pc:spChg chg="add del mod modVis">
          <ac:chgData name="Alexandre Fettermann Coutinho" userId="ba535c39-4054-42b2-abac-b5d0a4c19ecc" providerId="ADAL" clId="{9D18203E-ABB4-4205-BD02-C87CB632F49D}" dt="2024-11-21T10:59:41.605" v="712"/>
          <ac:spMkLst>
            <pc:docMk/>
            <pc:sldMk cId="2794895206" sldId="2561"/>
            <ac:spMk id="27" creationId="{6657B854-4650-3922-D05B-1A9EDB05B3A9}"/>
          </ac:spMkLst>
        </pc:spChg>
        <pc:graphicFrameChg chg="add mod ord modVis">
          <ac:chgData name="Alexandre Fettermann Coutinho" userId="ba535c39-4054-42b2-abac-b5d0a4c19ecc" providerId="ADAL" clId="{9D18203E-ABB4-4205-BD02-C87CB632F49D}" dt="2024-11-21T10:59:41.605" v="714"/>
          <ac:graphicFrameMkLst>
            <pc:docMk/>
            <pc:sldMk cId="2794895206" sldId="2561"/>
            <ac:graphicFrameMk id="6" creationId="{557D393F-E383-C6AB-2FA6-F393AF478BB2}"/>
          </ac:graphicFrameMkLst>
        </pc:graphicFrameChg>
        <pc:picChg chg="mod">
          <ac:chgData name="Alexandre Fettermann Coutinho" userId="ba535c39-4054-42b2-abac-b5d0a4c19ecc" providerId="ADAL" clId="{9D18203E-ABB4-4205-BD02-C87CB632F49D}" dt="2024-11-21T10:48:31.177" v="262" actId="14100"/>
          <ac:picMkLst>
            <pc:docMk/>
            <pc:sldMk cId="2794895206" sldId="2561"/>
            <ac:picMk id="4" creationId="{1B7A4EF1-CC80-492C-B1B7-7C007995EDC8}"/>
          </ac:picMkLst>
        </pc:picChg>
        <pc:picChg chg="add mod">
          <ac:chgData name="Alexandre Fettermann Coutinho" userId="ba535c39-4054-42b2-abac-b5d0a4c19ecc" providerId="ADAL" clId="{9D18203E-ABB4-4205-BD02-C87CB632F49D}" dt="2024-11-21T10:48:38.443" v="265" actId="1076"/>
          <ac:picMkLst>
            <pc:docMk/>
            <pc:sldMk cId="2794895206" sldId="2561"/>
            <ac:picMk id="1026" creationId="{97031AF0-F590-75E5-EE82-61C10B474D52}"/>
          </ac:picMkLst>
        </pc:picChg>
      </pc:sldChg>
      <pc:sldChg chg="addSp delSp modSp mod ord delAnim modAnim">
        <pc:chgData name="Alexandre Fettermann Coutinho" userId="ba535c39-4054-42b2-abac-b5d0a4c19ecc" providerId="ADAL" clId="{9D18203E-ABB4-4205-BD02-C87CB632F49D}" dt="2024-11-22T19:04:38.392" v="9420" actId="478"/>
        <pc:sldMkLst>
          <pc:docMk/>
          <pc:sldMk cId="3950186358" sldId="2562"/>
        </pc:sldMkLst>
        <pc:spChg chg="del mod">
          <ac:chgData name="Alexandre Fettermann Coutinho" userId="ba535c39-4054-42b2-abac-b5d0a4c19ecc" providerId="ADAL" clId="{9D18203E-ABB4-4205-BD02-C87CB632F49D}" dt="2024-11-22T14:06:25.193" v="1915" actId="478"/>
          <ac:spMkLst>
            <pc:docMk/>
            <pc:sldMk cId="3950186358" sldId="2562"/>
            <ac:spMk id="4" creationId="{73C93A68-449D-7131-21E1-B9B31FDE756E}"/>
          </ac:spMkLst>
        </pc:spChg>
        <pc:spChg chg="add mod">
          <ac:chgData name="Alexandre Fettermann Coutinho" userId="ba535c39-4054-42b2-abac-b5d0a4c19ecc" providerId="ADAL" clId="{9D18203E-ABB4-4205-BD02-C87CB632F49D}" dt="2024-11-22T14:06:38.329" v="1921" actId="20577"/>
          <ac:spMkLst>
            <pc:docMk/>
            <pc:sldMk cId="3950186358" sldId="2562"/>
            <ac:spMk id="6" creationId="{634F33AD-E734-C7BE-0A50-0CDDDABEF9C2}"/>
          </ac:spMkLst>
        </pc:spChg>
        <pc:spChg chg="add del mod">
          <ac:chgData name="Alexandre Fettermann Coutinho" userId="ba535c39-4054-42b2-abac-b5d0a4c19ecc" providerId="ADAL" clId="{9D18203E-ABB4-4205-BD02-C87CB632F49D}" dt="2024-11-22T14:06:28.006" v="1916" actId="478"/>
          <ac:spMkLst>
            <pc:docMk/>
            <pc:sldMk cId="3950186358" sldId="2562"/>
            <ac:spMk id="8" creationId="{A90B7FCA-0BDC-96BD-4517-1DBCABA7BA10}"/>
          </ac:spMkLst>
        </pc:spChg>
        <pc:picChg chg="add del mod">
          <ac:chgData name="Alexandre Fettermann Coutinho" userId="ba535c39-4054-42b2-abac-b5d0a4c19ecc" providerId="ADAL" clId="{9D18203E-ABB4-4205-BD02-C87CB632F49D}" dt="2024-11-22T19:04:38.392" v="9420" actId="478"/>
          <ac:picMkLst>
            <pc:docMk/>
            <pc:sldMk cId="3950186358" sldId="2562"/>
            <ac:picMk id="3" creationId="{68169219-DDFA-E9BC-9FF3-33372BFFF02E}"/>
          </ac:picMkLst>
        </pc:picChg>
        <pc:picChg chg="mod">
          <ac:chgData name="Alexandre Fettermann Coutinho" userId="ba535c39-4054-42b2-abac-b5d0a4c19ecc" providerId="ADAL" clId="{9D18203E-ABB4-4205-BD02-C87CB632F49D}" dt="2024-11-21T11:16:48.985" v="1113" actId="1076"/>
          <ac:picMkLst>
            <pc:docMk/>
            <pc:sldMk cId="3950186358" sldId="2562"/>
            <ac:picMk id="5" creationId="{971C07F6-7281-49E7-AE7B-33F6D7F8D6C7}"/>
          </ac:picMkLst>
        </pc:picChg>
      </pc:sldChg>
      <pc:sldChg chg="addSp delSp modSp mod modAnim modShow">
        <pc:chgData name="Alexandre Fettermann Coutinho" userId="ba535c39-4054-42b2-abac-b5d0a4c19ecc" providerId="ADAL" clId="{9D18203E-ABB4-4205-BD02-C87CB632F49D}" dt="2024-11-22T14:51:30.027" v="3183" actId="729"/>
        <pc:sldMkLst>
          <pc:docMk/>
          <pc:sldMk cId="2353231234" sldId="2563"/>
        </pc:sldMkLst>
        <pc:spChg chg="mod">
          <ac:chgData name="Alexandre Fettermann Coutinho" userId="ba535c39-4054-42b2-abac-b5d0a4c19ecc" providerId="ADAL" clId="{9D18203E-ABB4-4205-BD02-C87CB632F49D}" dt="2024-11-22T14:50:40.371" v="3158"/>
          <ac:spMkLst>
            <pc:docMk/>
            <pc:sldMk cId="2353231234" sldId="2563"/>
            <ac:spMk id="2" creationId="{219E5E74-9587-659B-6A2C-CA14F7C08461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50:37.567" v="3111"/>
          <ac:spMkLst>
            <pc:docMk/>
            <pc:sldMk cId="2353231234" sldId="2563"/>
            <ac:spMk id="3" creationId="{B9EC03B9-8150-4BCB-6380-98CC31A1CDE6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50:39.320" v="3154" actId="6549"/>
          <ac:spMkLst>
            <pc:docMk/>
            <pc:sldMk cId="2353231234" sldId="2563"/>
            <ac:spMk id="5" creationId="{6E514B59-FC74-6416-D80A-D84233E6A0E8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50:40.386" v="3180"/>
          <ac:spMkLst>
            <pc:docMk/>
            <pc:sldMk cId="2353231234" sldId="2563"/>
            <ac:spMk id="6" creationId="{536DB815-6158-58B8-9FD6-21EDC913C465}"/>
          </ac:spMkLst>
        </pc:spChg>
        <pc:graphicFrameChg chg="add mod ord modVis">
          <ac:chgData name="Alexandre Fettermann Coutinho" userId="ba535c39-4054-42b2-abac-b5d0a4c19ecc" providerId="ADAL" clId="{9D18203E-ABB4-4205-BD02-C87CB632F49D}" dt="2024-11-22T14:50:40.386" v="3182"/>
          <ac:graphicFrameMkLst>
            <pc:docMk/>
            <pc:sldMk cId="2353231234" sldId="2563"/>
            <ac:graphicFrameMk id="4" creationId="{47BA5212-A92B-7083-CAD1-6E59482F9AE8}"/>
          </ac:graphicFrameMkLst>
        </pc:graphicFrameChg>
      </pc:sldChg>
      <pc:sldChg chg="ord">
        <pc:chgData name="Alexandre Fettermann Coutinho" userId="ba535c39-4054-42b2-abac-b5d0a4c19ecc" providerId="ADAL" clId="{9D18203E-ABB4-4205-BD02-C87CB632F49D}" dt="2024-11-22T14:50:01.694" v="3086"/>
        <pc:sldMkLst>
          <pc:docMk/>
          <pc:sldMk cId="3760755424" sldId="2567"/>
        </pc:sldMkLst>
      </pc:sldChg>
      <pc:sldChg chg="ord">
        <pc:chgData name="Alexandre Fettermann Coutinho" userId="ba535c39-4054-42b2-abac-b5d0a4c19ecc" providerId="ADAL" clId="{9D18203E-ABB4-4205-BD02-C87CB632F49D}" dt="2024-11-22T14:50:01.694" v="3086"/>
        <pc:sldMkLst>
          <pc:docMk/>
          <pc:sldMk cId="1039179779" sldId="2568"/>
        </pc:sldMkLst>
      </pc:sldChg>
      <pc:sldChg chg="ord">
        <pc:chgData name="Alexandre Fettermann Coutinho" userId="ba535c39-4054-42b2-abac-b5d0a4c19ecc" providerId="ADAL" clId="{9D18203E-ABB4-4205-BD02-C87CB632F49D}" dt="2024-11-22T14:50:01.694" v="3086"/>
        <pc:sldMkLst>
          <pc:docMk/>
          <pc:sldMk cId="609270770" sldId="2569"/>
        </pc:sldMkLst>
      </pc:sldChg>
      <pc:sldChg chg="ord">
        <pc:chgData name="Alexandre Fettermann Coutinho" userId="ba535c39-4054-42b2-abac-b5d0a4c19ecc" providerId="ADAL" clId="{9D18203E-ABB4-4205-BD02-C87CB632F49D}" dt="2024-11-22T14:50:01.694" v="3086"/>
        <pc:sldMkLst>
          <pc:docMk/>
          <pc:sldMk cId="680214626" sldId="2570"/>
        </pc:sldMkLst>
      </pc:sldChg>
      <pc:sldChg chg="addSp delSp modSp mod">
        <pc:chgData name="Alexandre Fettermann Coutinho" userId="ba535c39-4054-42b2-abac-b5d0a4c19ecc" providerId="ADAL" clId="{9D18203E-ABB4-4205-BD02-C87CB632F49D}" dt="2024-11-22T15:02:53.557" v="3543" actId="1076"/>
        <pc:sldMkLst>
          <pc:docMk/>
          <pc:sldMk cId="4176579931" sldId="2572"/>
        </pc:sldMkLst>
        <pc:spChg chg="mod">
          <ac:chgData name="Alexandre Fettermann Coutinho" userId="ba535c39-4054-42b2-abac-b5d0a4c19ecc" providerId="ADAL" clId="{9D18203E-ABB4-4205-BD02-C87CB632F49D}" dt="2024-11-22T15:00:34.722" v="3467" actId="948"/>
          <ac:spMkLst>
            <pc:docMk/>
            <pc:sldMk cId="4176579931" sldId="2572"/>
            <ac:spMk id="2" creationId="{34945AD8-F6E0-B380-E1EC-68B0E8140B0A}"/>
          </ac:spMkLst>
        </pc:spChg>
        <pc:spChg chg="add del mod modVis">
          <ac:chgData name="Alexandre Fettermann Coutinho" userId="ba535c39-4054-42b2-abac-b5d0a4c19ecc" providerId="ADAL" clId="{9D18203E-ABB4-4205-BD02-C87CB632F49D}" dt="2024-11-22T15:00:31.895" v="3416"/>
          <ac:spMkLst>
            <pc:docMk/>
            <pc:sldMk cId="4176579931" sldId="2572"/>
            <ac:spMk id="3" creationId="{0897F247-17CB-9044-654D-09FE7FAD46D4}"/>
          </ac:spMkLst>
        </pc:spChg>
        <pc:spChg chg="mod">
          <ac:chgData name="Alexandre Fettermann Coutinho" userId="ba535c39-4054-42b2-abac-b5d0a4c19ecc" providerId="ADAL" clId="{9D18203E-ABB4-4205-BD02-C87CB632F49D}" dt="2024-11-22T15:02:53.557" v="3543" actId="1076"/>
          <ac:spMkLst>
            <pc:docMk/>
            <pc:sldMk cId="4176579931" sldId="2572"/>
            <ac:spMk id="4" creationId="{34ADF2D6-563F-D6C0-88E0-EC6B13FB9409}"/>
          </ac:spMkLst>
        </pc:spChg>
        <pc:spChg chg="add del mod modVis">
          <ac:chgData name="Alexandre Fettermann Coutinho" userId="ba535c39-4054-42b2-abac-b5d0a4c19ecc" providerId="ADAL" clId="{9D18203E-ABB4-4205-BD02-C87CB632F49D}" dt="2024-11-22T15:00:33.591" v="3462"/>
          <ac:spMkLst>
            <pc:docMk/>
            <pc:sldMk cId="4176579931" sldId="2572"/>
            <ac:spMk id="7" creationId="{D102B23D-293A-345A-D3A2-2E1FA4CCD677}"/>
          </ac:spMkLst>
        </pc:spChg>
        <pc:spChg chg="add del mod modVis">
          <ac:chgData name="Alexandre Fettermann Coutinho" userId="ba535c39-4054-42b2-abac-b5d0a4c19ecc" providerId="ADAL" clId="{9D18203E-ABB4-4205-BD02-C87CB632F49D}" dt="2024-11-22T15:00:34.738" v="3489"/>
          <ac:spMkLst>
            <pc:docMk/>
            <pc:sldMk cId="4176579931" sldId="2572"/>
            <ac:spMk id="8" creationId="{4C117069-9F4D-5FBE-2EC8-5D8B57447765}"/>
          </ac:spMkLst>
        </pc:spChg>
        <pc:graphicFrameChg chg="add mod ord modVis">
          <ac:chgData name="Alexandre Fettermann Coutinho" userId="ba535c39-4054-42b2-abac-b5d0a4c19ecc" providerId="ADAL" clId="{9D18203E-ABB4-4205-BD02-C87CB632F49D}" dt="2024-11-22T15:00:34.738" v="3491"/>
          <ac:graphicFrameMkLst>
            <pc:docMk/>
            <pc:sldMk cId="4176579931" sldId="2572"/>
            <ac:graphicFrameMk id="6" creationId="{A29DF600-4246-0D1A-5698-E0F46AD2E41A}"/>
          </ac:graphicFrameMkLst>
        </pc:graphicFrameChg>
      </pc:sldChg>
      <pc:sldChg chg="del mod modShow">
        <pc:chgData name="Alexandre Fettermann Coutinho" userId="ba535c39-4054-42b2-abac-b5d0a4c19ecc" providerId="ADAL" clId="{9D18203E-ABB4-4205-BD02-C87CB632F49D}" dt="2024-11-22T19:05:09.850" v="9421" actId="47"/>
        <pc:sldMkLst>
          <pc:docMk/>
          <pc:sldMk cId="1330875283" sldId="2573"/>
        </pc:sldMkLst>
      </pc:sldChg>
      <pc:sldChg chg="addSp delSp modSp mod ord">
        <pc:chgData name="Alexandre Fettermann Coutinho" userId="ba535c39-4054-42b2-abac-b5d0a4c19ecc" providerId="ADAL" clId="{9D18203E-ABB4-4205-BD02-C87CB632F49D}" dt="2024-11-22T14:54:31.667" v="3389"/>
        <pc:sldMkLst>
          <pc:docMk/>
          <pc:sldMk cId="2684782704" sldId="2575"/>
        </pc:sldMkLst>
        <pc:spChg chg="mod">
          <ac:chgData name="Alexandre Fettermann Coutinho" userId="ba535c39-4054-42b2-abac-b5d0a4c19ecc" providerId="ADAL" clId="{9D18203E-ABB4-4205-BD02-C87CB632F49D}" dt="2024-11-22T14:54:31.651" v="3365"/>
          <ac:spMkLst>
            <pc:docMk/>
            <pc:sldMk cId="2684782704" sldId="2575"/>
            <ac:spMk id="2" creationId="{CB1432CA-6619-F95B-D5B0-F20ECFF7D34F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54:24.132" v="3254"/>
          <ac:spMkLst>
            <pc:docMk/>
            <pc:sldMk cId="2684782704" sldId="2575"/>
            <ac:spMk id="4" creationId="{3AFE0FFB-028E-78A4-9389-E23088B9B52A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54:25.037" v="3282"/>
          <ac:spMkLst>
            <pc:docMk/>
            <pc:sldMk cId="2684782704" sldId="2575"/>
            <ac:spMk id="5" creationId="{8B8F188C-B70B-5DC8-F3E0-A128E5D20A88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54:26.751" v="3313"/>
          <ac:spMkLst>
            <pc:docMk/>
            <pc:sldMk cId="2684782704" sldId="2575"/>
            <ac:spMk id="6" creationId="{C79717D9-A309-B861-0E18-6001F200074F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54:30.411" v="3358"/>
          <ac:spMkLst>
            <pc:docMk/>
            <pc:sldMk cId="2684782704" sldId="2575"/>
            <ac:spMk id="8" creationId="{A8CF30B8-4ED7-435A-A5EC-6C79140C6FDC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54:31.667" v="3387"/>
          <ac:spMkLst>
            <pc:docMk/>
            <pc:sldMk cId="2684782704" sldId="2575"/>
            <ac:spMk id="10" creationId="{7E464748-2626-638F-63A1-08383898E835}"/>
          </ac:spMkLst>
        </pc:spChg>
        <pc:graphicFrameChg chg="add mod ord modVis">
          <ac:chgData name="Alexandre Fettermann Coutinho" userId="ba535c39-4054-42b2-abac-b5d0a4c19ecc" providerId="ADAL" clId="{9D18203E-ABB4-4205-BD02-C87CB632F49D}" dt="2024-11-22T14:54:31.667" v="3389"/>
          <ac:graphicFrameMkLst>
            <pc:docMk/>
            <pc:sldMk cId="2684782704" sldId="2575"/>
            <ac:graphicFrameMk id="3" creationId="{109147E4-1451-057C-D3D4-0DD146B59FE0}"/>
          </ac:graphicFrameMkLst>
        </pc:graphicFrameChg>
      </pc:sldChg>
      <pc:sldChg chg="mod ord modShow">
        <pc:chgData name="Alexandre Fettermann Coutinho" userId="ba535c39-4054-42b2-abac-b5d0a4c19ecc" providerId="ADAL" clId="{9D18203E-ABB4-4205-BD02-C87CB632F49D}" dt="2024-11-22T16:17:39.296" v="4389" actId="729"/>
        <pc:sldMkLst>
          <pc:docMk/>
          <pc:sldMk cId="2455234506" sldId="2576"/>
        </pc:sldMkLst>
      </pc:sldChg>
      <pc:sldChg chg="mod ord modShow">
        <pc:chgData name="Alexandre Fettermann Coutinho" userId="ba535c39-4054-42b2-abac-b5d0a4c19ecc" providerId="ADAL" clId="{9D18203E-ABB4-4205-BD02-C87CB632F49D}" dt="2024-11-22T16:17:44.292" v="4391" actId="729"/>
        <pc:sldMkLst>
          <pc:docMk/>
          <pc:sldMk cId="652082216" sldId="2577"/>
        </pc:sldMkLst>
      </pc:sldChg>
      <pc:sldChg chg="mod ord modShow">
        <pc:chgData name="Alexandre Fettermann Coutinho" userId="ba535c39-4054-42b2-abac-b5d0a4c19ecc" providerId="ADAL" clId="{9D18203E-ABB4-4205-BD02-C87CB632F49D}" dt="2024-11-22T16:17:41.910" v="4390" actId="729"/>
        <pc:sldMkLst>
          <pc:docMk/>
          <pc:sldMk cId="1671088045" sldId="2578"/>
        </pc:sldMkLst>
      </pc:sldChg>
      <pc:sldChg chg="mod modShow">
        <pc:chgData name="Alexandre Fettermann Coutinho" userId="ba535c39-4054-42b2-abac-b5d0a4c19ecc" providerId="ADAL" clId="{9D18203E-ABB4-4205-BD02-C87CB632F49D}" dt="2024-11-22T14:53:23.128" v="3187" actId="729"/>
        <pc:sldMkLst>
          <pc:docMk/>
          <pc:sldMk cId="1681883714" sldId="2579"/>
        </pc:sldMkLst>
      </pc:sldChg>
      <pc:sldChg chg="del mod modShow">
        <pc:chgData name="Alexandre Fettermann Coutinho" userId="ba535c39-4054-42b2-abac-b5d0a4c19ecc" providerId="ADAL" clId="{9D18203E-ABB4-4205-BD02-C87CB632F49D}" dt="2024-11-22T19:09:01.289" v="9804" actId="47"/>
        <pc:sldMkLst>
          <pc:docMk/>
          <pc:sldMk cId="1620452046" sldId="2580"/>
        </pc:sldMkLst>
      </pc:sldChg>
      <pc:sldChg chg="mod modShow">
        <pc:chgData name="Alexandre Fettermann Coutinho" userId="ba535c39-4054-42b2-abac-b5d0a4c19ecc" providerId="ADAL" clId="{9D18203E-ABB4-4205-BD02-C87CB632F49D}" dt="2024-11-22T14:53:26.503" v="3189" actId="729"/>
        <pc:sldMkLst>
          <pc:docMk/>
          <pc:sldMk cId="2411735318" sldId="2581"/>
        </pc:sldMkLst>
      </pc:sldChg>
      <pc:sldChg chg="mod modShow">
        <pc:chgData name="Alexandre Fettermann Coutinho" userId="ba535c39-4054-42b2-abac-b5d0a4c19ecc" providerId="ADAL" clId="{9D18203E-ABB4-4205-BD02-C87CB632F49D}" dt="2024-11-22T14:53:30.066" v="3190" actId="729"/>
        <pc:sldMkLst>
          <pc:docMk/>
          <pc:sldMk cId="3333161555" sldId="2582"/>
        </pc:sldMkLst>
      </pc:sldChg>
      <pc:sldChg chg="del mod modShow">
        <pc:chgData name="Alexandre Fettermann Coutinho" userId="ba535c39-4054-42b2-abac-b5d0a4c19ecc" providerId="ADAL" clId="{9D18203E-ABB4-4205-BD02-C87CB632F49D}" dt="2024-11-22T14:53:49.243" v="3193" actId="47"/>
        <pc:sldMkLst>
          <pc:docMk/>
          <pc:sldMk cId="921176830" sldId="2583"/>
        </pc:sldMkLst>
      </pc:sldChg>
      <pc:sldChg chg="add del mod modShow">
        <pc:chgData name="Alexandre Fettermann Coutinho" userId="ba535c39-4054-42b2-abac-b5d0a4c19ecc" providerId="ADAL" clId="{9D18203E-ABB4-4205-BD02-C87CB632F49D}" dt="2024-11-22T19:09:11.133" v="9805" actId="47"/>
        <pc:sldMkLst>
          <pc:docMk/>
          <pc:sldMk cId="4007340604" sldId="2584"/>
        </pc:sldMkLst>
      </pc:sldChg>
      <pc:sldChg chg="addSp delSp modSp add del mod ord addAnim delAnim modAnim">
        <pc:chgData name="Alexandre Fettermann Coutinho" userId="ba535c39-4054-42b2-abac-b5d0a4c19ecc" providerId="ADAL" clId="{9D18203E-ABB4-4205-BD02-C87CB632F49D}" dt="2024-11-22T19:12:28.423" v="9811" actId="207"/>
        <pc:sldMkLst>
          <pc:docMk/>
          <pc:sldMk cId="3469905452" sldId="2585"/>
        </pc:sldMkLst>
        <pc:spChg chg="mod">
          <ac:chgData name="Alexandre Fettermann Coutinho" userId="ba535c39-4054-42b2-abac-b5d0a4c19ecc" providerId="ADAL" clId="{9D18203E-ABB4-4205-BD02-C87CB632F49D}" dt="2024-11-22T16:12:27.091" v="4191" actId="1076"/>
          <ac:spMkLst>
            <pc:docMk/>
            <pc:sldMk cId="3469905452" sldId="2585"/>
            <ac:spMk id="2" creationId="{9CF30DF0-B300-1E31-95FA-EF5D76BD5B62}"/>
          </ac:spMkLst>
        </pc:spChg>
        <pc:spChg chg="add del mod">
          <ac:chgData name="Alexandre Fettermann Coutinho" userId="ba535c39-4054-42b2-abac-b5d0a4c19ecc" providerId="ADAL" clId="{9D18203E-ABB4-4205-BD02-C87CB632F49D}" dt="2024-11-22T16:12:55.231" v="4238" actId="14100"/>
          <ac:spMkLst>
            <pc:docMk/>
            <pc:sldMk cId="3469905452" sldId="2585"/>
            <ac:spMk id="4" creationId="{BAD6299D-FF7A-55B0-37EB-4643DF1FAD70}"/>
          </ac:spMkLst>
        </pc:spChg>
        <pc:spChg chg="add del mod">
          <ac:chgData name="Alexandre Fettermann Coutinho" userId="ba535c39-4054-42b2-abac-b5d0a4c19ecc" providerId="ADAL" clId="{9D18203E-ABB4-4205-BD02-C87CB632F49D}" dt="2024-11-22T15:31:06.036" v="3740" actId="478"/>
          <ac:spMkLst>
            <pc:docMk/>
            <pc:sldMk cId="3469905452" sldId="2585"/>
            <ac:spMk id="6" creationId="{0D3AA429-461A-CC31-E3FE-3095A7023227}"/>
          </ac:spMkLst>
        </pc:spChg>
        <pc:spChg chg="add del mod modVis">
          <ac:chgData name="Alexandre Fettermann Coutinho" userId="ba535c39-4054-42b2-abac-b5d0a4c19ecc" providerId="ADAL" clId="{9D18203E-ABB4-4205-BD02-C87CB632F49D}" dt="2024-11-22T15:34:02.843" v="3898"/>
          <ac:spMkLst>
            <pc:docMk/>
            <pc:sldMk cId="3469905452" sldId="2585"/>
            <ac:spMk id="7" creationId="{B89F01E4-A3CA-6F69-920B-0322945FABEE}"/>
          </ac:spMkLst>
        </pc:spChg>
        <pc:spChg chg="add del mod modVis">
          <ac:chgData name="Alexandre Fettermann Coutinho" userId="ba535c39-4054-42b2-abac-b5d0a4c19ecc" providerId="ADAL" clId="{9D18203E-ABB4-4205-BD02-C87CB632F49D}" dt="2024-11-22T15:34:05.862" v="3936"/>
          <ac:spMkLst>
            <pc:docMk/>
            <pc:sldMk cId="3469905452" sldId="2585"/>
            <ac:spMk id="9" creationId="{54EA9C19-E146-AEDA-6E21-84BBD085CB69}"/>
          </ac:spMkLst>
        </pc:spChg>
        <pc:spChg chg="add del mod">
          <ac:chgData name="Alexandre Fettermann Coutinho" userId="ba535c39-4054-42b2-abac-b5d0a4c19ecc" providerId="ADAL" clId="{9D18203E-ABB4-4205-BD02-C87CB632F49D}" dt="2024-11-22T16:05:39.693" v="3982" actId="21"/>
          <ac:spMkLst>
            <pc:docMk/>
            <pc:sldMk cId="3469905452" sldId="2585"/>
            <ac:spMk id="13" creationId="{195DB320-7A4C-17C2-7999-6A4162B20D29}"/>
          </ac:spMkLst>
        </pc:spChg>
        <pc:spChg chg="add mod">
          <ac:chgData name="Alexandre Fettermann Coutinho" userId="ba535c39-4054-42b2-abac-b5d0a4c19ecc" providerId="ADAL" clId="{9D18203E-ABB4-4205-BD02-C87CB632F49D}" dt="2024-11-22T19:12:28.423" v="9811" actId="207"/>
          <ac:spMkLst>
            <pc:docMk/>
            <pc:sldMk cId="3469905452" sldId="2585"/>
            <ac:spMk id="15" creationId="{8032D7AF-FD06-0443-9EAC-790C6F9B87F7}"/>
          </ac:spMkLst>
        </pc:spChg>
        <pc:spChg chg="add del mod modVis">
          <ac:chgData name="Alexandre Fettermann Coutinho" userId="ba535c39-4054-42b2-abac-b5d0a4c19ecc" providerId="ADAL" clId="{9D18203E-ABB4-4205-BD02-C87CB632F49D}" dt="2024-11-22T16:12:27.091" v="4189" actId="962"/>
          <ac:spMkLst>
            <pc:docMk/>
            <pc:sldMk cId="3469905452" sldId="2585"/>
            <ac:spMk id="17" creationId="{3D601E65-AB5E-B421-4017-C6A09F811944}"/>
          </ac:spMkLst>
        </pc:spChg>
        <pc:graphicFrameChg chg="add mod ord modVis">
          <ac:chgData name="Alexandre Fettermann Coutinho" userId="ba535c39-4054-42b2-abac-b5d0a4c19ecc" providerId="ADAL" clId="{9D18203E-ABB4-4205-BD02-C87CB632F49D}" dt="2024-11-22T16:12:27.483" v="4194" actId="1076"/>
          <ac:graphicFrameMkLst>
            <pc:docMk/>
            <pc:sldMk cId="3469905452" sldId="2585"/>
            <ac:graphicFrameMk id="8" creationId="{8E9D0853-1A3D-FA80-06F4-A6B56952F9D6}"/>
          </ac:graphicFrameMkLst>
        </pc:graphicFrameChg>
        <pc:picChg chg="del">
          <ac:chgData name="Alexandre Fettermann Coutinho" userId="ba535c39-4054-42b2-abac-b5d0a4c19ecc" providerId="ADAL" clId="{9D18203E-ABB4-4205-BD02-C87CB632F49D}" dt="2024-11-22T15:30:58.182" v="3738" actId="21"/>
          <ac:picMkLst>
            <pc:docMk/>
            <pc:sldMk cId="3469905452" sldId="2585"/>
            <ac:picMk id="5" creationId="{934A1857-5BCF-4122-AFB6-C1586260FD0C}"/>
          </ac:picMkLst>
        </pc:picChg>
        <pc:picChg chg="add mod">
          <ac:chgData name="Alexandre Fettermann Coutinho" userId="ba535c39-4054-42b2-abac-b5d0a4c19ecc" providerId="ADAL" clId="{9D18203E-ABB4-4205-BD02-C87CB632F49D}" dt="2024-11-22T16:13:02.603" v="4240" actId="1076"/>
          <ac:picMkLst>
            <pc:docMk/>
            <pc:sldMk cId="3469905452" sldId="2585"/>
            <ac:picMk id="19" creationId="{A3D9DDF1-7C5E-AA76-62F8-38E189711D3D}"/>
          </ac:picMkLst>
        </pc:picChg>
        <pc:picChg chg="add mod">
          <ac:chgData name="Alexandre Fettermann Coutinho" userId="ba535c39-4054-42b2-abac-b5d0a4c19ecc" providerId="ADAL" clId="{9D18203E-ABB4-4205-BD02-C87CB632F49D}" dt="2024-11-22T16:13:39.193" v="4245" actId="1076"/>
          <ac:picMkLst>
            <pc:docMk/>
            <pc:sldMk cId="3469905452" sldId="2585"/>
            <ac:picMk id="20" creationId="{F25870FF-D270-0825-9FAF-E049822B788E}"/>
          </ac:picMkLst>
        </pc:picChg>
        <pc:picChg chg="add mod">
          <ac:chgData name="Alexandre Fettermann Coutinho" userId="ba535c39-4054-42b2-abac-b5d0a4c19ecc" providerId="ADAL" clId="{9D18203E-ABB4-4205-BD02-C87CB632F49D}" dt="2024-11-22T16:13:37.136" v="4244" actId="1076"/>
          <ac:picMkLst>
            <pc:docMk/>
            <pc:sldMk cId="3469905452" sldId="2585"/>
            <ac:picMk id="21" creationId="{8494B3AB-0617-9D8E-2C24-AA55360AD3F1}"/>
          </ac:picMkLst>
        </pc:picChg>
        <pc:picChg chg="add mod">
          <ac:chgData name="Alexandre Fettermann Coutinho" userId="ba535c39-4054-42b2-abac-b5d0a4c19ecc" providerId="ADAL" clId="{9D18203E-ABB4-4205-BD02-C87CB632F49D}" dt="2024-11-22T16:13:14.921" v="4242" actId="1076"/>
          <ac:picMkLst>
            <pc:docMk/>
            <pc:sldMk cId="3469905452" sldId="2585"/>
            <ac:picMk id="22" creationId="{251FB74C-1DF3-1E90-A1C4-29FA5EF51522}"/>
          </ac:picMkLst>
        </pc:picChg>
        <pc:picChg chg="add mod">
          <ac:chgData name="Alexandre Fettermann Coutinho" userId="ba535c39-4054-42b2-abac-b5d0a4c19ecc" providerId="ADAL" clId="{9D18203E-ABB4-4205-BD02-C87CB632F49D}" dt="2024-11-22T16:13:32.299" v="4243" actId="1076"/>
          <ac:picMkLst>
            <pc:docMk/>
            <pc:sldMk cId="3469905452" sldId="2585"/>
            <ac:picMk id="23" creationId="{A517692E-B071-DE00-68D0-1C859A2F8C73}"/>
          </ac:picMkLst>
        </pc:picChg>
        <pc:picChg chg="add mod">
          <ac:chgData name="Alexandre Fettermann Coutinho" userId="ba535c39-4054-42b2-abac-b5d0a4c19ecc" providerId="ADAL" clId="{9D18203E-ABB4-4205-BD02-C87CB632F49D}" dt="2024-11-22T16:13:32.299" v="4243" actId="1076"/>
          <ac:picMkLst>
            <pc:docMk/>
            <pc:sldMk cId="3469905452" sldId="2585"/>
            <ac:picMk id="24" creationId="{787DDE7E-AADF-1051-DEC9-3636438CF173}"/>
          </ac:picMkLst>
        </pc:picChg>
        <pc:picChg chg="add mod">
          <ac:chgData name="Alexandre Fettermann Coutinho" userId="ba535c39-4054-42b2-abac-b5d0a4c19ecc" providerId="ADAL" clId="{9D18203E-ABB4-4205-BD02-C87CB632F49D}" dt="2024-11-22T16:13:32.299" v="4243" actId="1076"/>
          <ac:picMkLst>
            <pc:docMk/>
            <pc:sldMk cId="3469905452" sldId="2585"/>
            <ac:picMk id="25" creationId="{BF6D1D1E-3269-2586-6CEE-DBABAFEA1FFD}"/>
          </ac:picMkLst>
        </pc:picChg>
        <pc:picChg chg="add mod">
          <ac:chgData name="Alexandre Fettermann Coutinho" userId="ba535c39-4054-42b2-abac-b5d0a4c19ecc" providerId="ADAL" clId="{9D18203E-ABB4-4205-BD02-C87CB632F49D}" dt="2024-11-22T16:13:32.299" v="4243" actId="1076"/>
          <ac:picMkLst>
            <pc:docMk/>
            <pc:sldMk cId="3469905452" sldId="2585"/>
            <ac:picMk id="26" creationId="{D2B21ACE-C0F8-2C18-926B-EDA167FEA9BA}"/>
          </ac:picMkLst>
        </pc:picChg>
        <pc:picChg chg="add del mod">
          <ac:chgData name="Alexandre Fettermann Coutinho" userId="ba535c39-4054-42b2-abac-b5d0a4c19ecc" providerId="ADAL" clId="{9D18203E-ABB4-4205-BD02-C87CB632F49D}" dt="2024-11-22T16:11:52.302" v="4157" actId="21"/>
          <ac:picMkLst>
            <pc:docMk/>
            <pc:sldMk cId="3469905452" sldId="2585"/>
            <ac:picMk id="3074" creationId="{A3D9DDF1-7C5E-AA76-62F8-38E189711D3D}"/>
          </ac:picMkLst>
        </pc:picChg>
        <pc:picChg chg="add">
          <ac:chgData name="Alexandre Fettermann Coutinho" userId="ba535c39-4054-42b2-abac-b5d0a4c19ecc" providerId="ADAL" clId="{9D18203E-ABB4-4205-BD02-C87CB632F49D}" dt="2024-11-22T15:40:32.735" v="3943"/>
          <ac:picMkLst>
            <pc:docMk/>
            <pc:sldMk cId="3469905452" sldId="2585"/>
            <ac:picMk id="3076" creationId="{D67B19FF-CCF9-2679-A431-D5A9474D1359}"/>
          </ac:picMkLst>
        </pc:picChg>
        <pc:picChg chg="add del mod">
          <ac:chgData name="Alexandre Fettermann Coutinho" userId="ba535c39-4054-42b2-abac-b5d0a4c19ecc" providerId="ADAL" clId="{9D18203E-ABB4-4205-BD02-C87CB632F49D}" dt="2024-11-22T16:11:52.302" v="4157" actId="21"/>
          <ac:picMkLst>
            <pc:docMk/>
            <pc:sldMk cId="3469905452" sldId="2585"/>
            <ac:picMk id="3078" creationId="{F25870FF-D270-0825-9FAF-E049822B788E}"/>
          </ac:picMkLst>
        </pc:picChg>
        <pc:picChg chg="add del mod">
          <ac:chgData name="Alexandre Fettermann Coutinho" userId="ba535c39-4054-42b2-abac-b5d0a4c19ecc" providerId="ADAL" clId="{9D18203E-ABB4-4205-BD02-C87CB632F49D}" dt="2024-11-22T16:11:52.302" v="4157" actId="21"/>
          <ac:picMkLst>
            <pc:docMk/>
            <pc:sldMk cId="3469905452" sldId="2585"/>
            <ac:picMk id="3080" creationId="{8494B3AB-0617-9D8E-2C24-AA55360AD3F1}"/>
          </ac:picMkLst>
        </pc:picChg>
        <pc:picChg chg="add del mod">
          <ac:chgData name="Alexandre Fettermann Coutinho" userId="ba535c39-4054-42b2-abac-b5d0a4c19ecc" providerId="ADAL" clId="{9D18203E-ABB4-4205-BD02-C87CB632F49D}" dt="2024-11-22T16:11:52.302" v="4157" actId="21"/>
          <ac:picMkLst>
            <pc:docMk/>
            <pc:sldMk cId="3469905452" sldId="2585"/>
            <ac:picMk id="3082" creationId="{251FB74C-1DF3-1E90-A1C4-29FA5EF51522}"/>
          </ac:picMkLst>
        </pc:picChg>
        <pc:picChg chg="add del mod">
          <ac:chgData name="Alexandre Fettermann Coutinho" userId="ba535c39-4054-42b2-abac-b5d0a4c19ecc" providerId="ADAL" clId="{9D18203E-ABB4-4205-BD02-C87CB632F49D}" dt="2024-11-22T16:11:52.302" v="4157" actId="21"/>
          <ac:picMkLst>
            <pc:docMk/>
            <pc:sldMk cId="3469905452" sldId="2585"/>
            <ac:picMk id="3084" creationId="{A517692E-B071-DE00-68D0-1C859A2F8C73}"/>
          </ac:picMkLst>
        </pc:picChg>
        <pc:picChg chg="add del mod">
          <ac:chgData name="Alexandre Fettermann Coutinho" userId="ba535c39-4054-42b2-abac-b5d0a4c19ecc" providerId="ADAL" clId="{9D18203E-ABB4-4205-BD02-C87CB632F49D}" dt="2024-11-22T16:11:52.302" v="4157" actId="21"/>
          <ac:picMkLst>
            <pc:docMk/>
            <pc:sldMk cId="3469905452" sldId="2585"/>
            <ac:picMk id="3086" creationId="{787DDE7E-AADF-1051-DEC9-3636438CF173}"/>
          </ac:picMkLst>
        </pc:picChg>
        <pc:picChg chg="add del mod">
          <ac:chgData name="Alexandre Fettermann Coutinho" userId="ba535c39-4054-42b2-abac-b5d0a4c19ecc" providerId="ADAL" clId="{9D18203E-ABB4-4205-BD02-C87CB632F49D}" dt="2024-11-22T16:11:52.302" v="4157" actId="21"/>
          <ac:picMkLst>
            <pc:docMk/>
            <pc:sldMk cId="3469905452" sldId="2585"/>
            <ac:picMk id="3088" creationId="{BF6D1D1E-3269-2586-6CEE-DBABAFEA1FFD}"/>
          </ac:picMkLst>
        </pc:picChg>
        <pc:picChg chg="add del mod">
          <ac:chgData name="Alexandre Fettermann Coutinho" userId="ba535c39-4054-42b2-abac-b5d0a4c19ecc" providerId="ADAL" clId="{9D18203E-ABB4-4205-BD02-C87CB632F49D}" dt="2024-11-22T16:11:52.302" v="4157" actId="21"/>
          <ac:picMkLst>
            <pc:docMk/>
            <pc:sldMk cId="3469905452" sldId="2585"/>
            <ac:picMk id="3090" creationId="{D2B21ACE-C0F8-2C18-926B-EDA167FEA9BA}"/>
          </ac:picMkLst>
        </pc:picChg>
      </pc:sldChg>
      <pc:sldChg chg="addSp delSp modSp add del mod ord">
        <pc:chgData name="Alexandre Fettermann Coutinho" userId="ba535c39-4054-42b2-abac-b5d0a4c19ecc" providerId="ADAL" clId="{9D18203E-ABB4-4205-BD02-C87CB632F49D}" dt="2024-11-22T16:15:46.524" v="4356" actId="47"/>
        <pc:sldMkLst>
          <pc:docMk/>
          <pc:sldMk cId="448705653" sldId="2586"/>
        </pc:sldMkLst>
        <pc:spChg chg="mod">
          <ac:chgData name="Alexandre Fettermann Coutinho" userId="ba535c39-4054-42b2-abac-b5d0a4c19ecc" providerId="ADAL" clId="{9D18203E-ABB4-4205-BD02-C87CB632F49D}" dt="2024-11-22T16:14:52.170" v="4337" actId="948"/>
          <ac:spMkLst>
            <pc:docMk/>
            <pc:sldMk cId="448705653" sldId="2586"/>
            <ac:spMk id="2" creationId="{707130DB-18AC-C031-362A-E1B9B5FD9AF8}"/>
          </ac:spMkLst>
        </pc:spChg>
        <pc:spChg chg="add del mod">
          <ac:chgData name="Alexandre Fettermann Coutinho" userId="ba535c39-4054-42b2-abac-b5d0a4c19ecc" providerId="ADAL" clId="{9D18203E-ABB4-4205-BD02-C87CB632F49D}" dt="2024-11-22T16:14:57.548" v="4341" actId="478"/>
          <ac:spMkLst>
            <pc:docMk/>
            <pc:sldMk cId="448705653" sldId="2586"/>
            <ac:spMk id="8" creationId="{7CCC9C20-A52B-344E-CD86-86AFD9474972}"/>
          </ac:spMkLst>
        </pc:spChg>
        <pc:graphicFrameChg chg="add mod ord modVis">
          <ac:chgData name="Alexandre Fettermann Coutinho" userId="ba535c39-4054-42b2-abac-b5d0a4c19ecc" providerId="ADAL" clId="{9D18203E-ABB4-4205-BD02-C87CB632F49D}" dt="2024-11-22T16:14:52.170" v="4339"/>
          <ac:graphicFrameMkLst>
            <pc:docMk/>
            <pc:sldMk cId="448705653" sldId="2586"/>
            <ac:graphicFrameMk id="6" creationId="{3200B30F-BDE3-D176-B9A5-1FDF57A47CC4}"/>
          </ac:graphicFrameMkLst>
        </pc:graphicFrameChg>
        <pc:picChg chg="add del mod">
          <ac:chgData name="Alexandre Fettermann Coutinho" userId="ba535c39-4054-42b2-abac-b5d0a4c19ecc" providerId="ADAL" clId="{9D18203E-ABB4-4205-BD02-C87CB632F49D}" dt="2024-11-22T16:15:13.300" v="4344" actId="21"/>
          <ac:picMkLst>
            <pc:docMk/>
            <pc:sldMk cId="448705653" sldId="2586"/>
            <ac:picMk id="3" creationId="{934A1857-5BCF-4122-AFB6-C1586260FD0C}"/>
          </ac:picMkLst>
        </pc:picChg>
        <pc:picChg chg="del">
          <ac:chgData name="Alexandre Fettermann Coutinho" userId="ba535c39-4054-42b2-abac-b5d0a4c19ecc" providerId="ADAL" clId="{9D18203E-ABB4-4205-BD02-C87CB632F49D}" dt="2024-11-22T16:14:55.208" v="4340" actId="478"/>
          <ac:picMkLst>
            <pc:docMk/>
            <pc:sldMk cId="448705653" sldId="2586"/>
            <ac:picMk id="5" creationId="{AD36B715-9C46-4864-BC7E-388DD423B5D4}"/>
          </ac:picMkLst>
        </pc:picChg>
      </pc:sldChg>
      <pc:sldChg chg="modSp">
        <pc:chgData name="Alexandre Fettermann Coutinho" userId="ba535c39-4054-42b2-abac-b5d0a4c19ecc" providerId="ADAL" clId="{9D18203E-ABB4-4205-BD02-C87CB632F49D}" dt="2024-11-22T16:17:56.776" v="4397" actId="20577"/>
        <pc:sldMkLst>
          <pc:docMk/>
          <pc:sldMk cId="3990888050" sldId="2587"/>
        </pc:sldMkLst>
        <pc:spChg chg="mod">
          <ac:chgData name="Alexandre Fettermann Coutinho" userId="ba535c39-4054-42b2-abac-b5d0a4c19ecc" providerId="ADAL" clId="{9D18203E-ABB4-4205-BD02-C87CB632F49D}" dt="2024-11-22T16:17:56.776" v="4397" actId="20577"/>
          <ac:spMkLst>
            <pc:docMk/>
            <pc:sldMk cId="3990888050" sldId="2587"/>
            <ac:spMk id="3" creationId="{5874A334-3BF9-D3FE-3012-06267201CB9D}"/>
          </ac:spMkLst>
        </pc:spChg>
      </pc:sldChg>
      <pc:sldChg chg="addSp add del mod ord">
        <pc:chgData name="Alexandre Fettermann Coutinho" userId="ba535c39-4054-42b2-abac-b5d0a4c19ecc" providerId="ADAL" clId="{9D18203E-ABB4-4205-BD02-C87CB632F49D}" dt="2024-11-21T14:32:00.221" v="1232" actId="47"/>
        <pc:sldMkLst>
          <pc:docMk/>
          <pc:sldMk cId="3972971544" sldId="2588"/>
        </pc:sldMkLst>
        <pc:picChg chg="add">
          <ac:chgData name="Alexandre Fettermann Coutinho" userId="ba535c39-4054-42b2-abac-b5d0a4c19ecc" providerId="ADAL" clId="{9D18203E-ABB4-4205-BD02-C87CB632F49D}" dt="2024-11-21T11:19:39.976" v="1131" actId="22"/>
          <ac:picMkLst>
            <pc:docMk/>
            <pc:sldMk cId="3972971544" sldId="2588"/>
            <ac:picMk id="3" creationId="{FDADA87A-5B5C-E503-2AFD-389E50B8963A}"/>
          </ac:picMkLst>
        </pc:picChg>
      </pc:sldChg>
      <pc:sldChg chg="addSp delSp modSp add mod setBg delAnim modAnim delDesignElem">
        <pc:chgData name="Alexandre Fettermann Coutinho" userId="ba535c39-4054-42b2-abac-b5d0a4c19ecc" providerId="ADAL" clId="{9D18203E-ABB4-4205-BD02-C87CB632F49D}" dt="2024-11-21T21:13:36.541" v="1321"/>
        <pc:sldMkLst>
          <pc:docMk/>
          <pc:sldMk cId="2732091900" sldId="2589"/>
        </pc:sldMkLst>
        <pc:spChg chg="mod">
          <ac:chgData name="Alexandre Fettermann Coutinho" userId="ba535c39-4054-42b2-abac-b5d0a4c19ecc" providerId="ADAL" clId="{9D18203E-ABB4-4205-BD02-C87CB632F49D}" dt="2024-11-21T21:13:36.427" v="1297" actId="948"/>
          <ac:spMkLst>
            <pc:docMk/>
            <pc:sldMk cId="2732091900" sldId="2589"/>
            <ac:spMk id="2" creationId="{3F298F03-E589-86BC-8EF3-6FD9D10B515E}"/>
          </ac:spMkLst>
        </pc:spChg>
        <pc:spChg chg="add del mod modVis">
          <ac:chgData name="Alexandre Fettermann Coutinho" userId="ba535c39-4054-42b2-abac-b5d0a4c19ecc" providerId="ADAL" clId="{9D18203E-ABB4-4205-BD02-C87CB632F49D}" dt="2024-11-21T21:13:33.979" v="1264"/>
          <ac:spMkLst>
            <pc:docMk/>
            <pc:sldMk cId="2732091900" sldId="2589"/>
            <ac:spMk id="3" creationId="{775A5DF6-05AD-04FF-2867-E43ECC6E3128}"/>
          </ac:spMkLst>
        </pc:spChg>
        <pc:spChg chg="add del mod modVis">
          <ac:chgData name="Alexandre Fettermann Coutinho" userId="ba535c39-4054-42b2-abac-b5d0a4c19ecc" providerId="ADAL" clId="{9D18203E-ABB4-4205-BD02-C87CB632F49D}" dt="2024-11-21T21:13:35.471" v="1293"/>
          <ac:spMkLst>
            <pc:docMk/>
            <pc:sldMk cId="2732091900" sldId="2589"/>
            <ac:spMk id="4" creationId="{499964BE-8B34-16B9-FC0A-EA12FFD24789}"/>
          </ac:spMkLst>
        </pc:spChg>
        <pc:spChg chg="del mod">
          <ac:chgData name="Alexandre Fettermann Coutinho" userId="ba535c39-4054-42b2-abac-b5d0a4c19ecc" providerId="ADAL" clId="{9D18203E-ABB4-4205-BD02-C87CB632F49D}" dt="2024-11-21T11:17:25.103" v="1121" actId="478"/>
          <ac:spMkLst>
            <pc:docMk/>
            <pc:sldMk cId="2732091900" sldId="2589"/>
            <ac:spMk id="4" creationId="{BBBD5C69-501A-7467-0F3B-3A8EDDCC47CC}"/>
          </ac:spMkLst>
        </pc:spChg>
        <pc:spChg chg="add del mod modVis">
          <ac:chgData name="Alexandre Fettermann Coutinho" userId="ba535c39-4054-42b2-abac-b5d0a4c19ecc" providerId="ADAL" clId="{9D18203E-ABB4-4205-BD02-C87CB632F49D}" dt="2024-11-21T21:13:36.537" v="1319"/>
          <ac:spMkLst>
            <pc:docMk/>
            <pc:sldMk cId="2732091900" sldId="2589"/>
            <ac:spMk id="5" creationId="{6A69E5A2-A137-5272-DF24-A01C063F74BD}"/>
          </ac:spMkLst>
        </pc:spChg>
        <pc:spChg chg="add del">
          <ac:chgData name="Alexandre Fettermann Coutinho" userId="ba535c39-4054-42b2-abac-b5d0a4c19ecc" providerId="ADAL" clId="{9D18203E-ABB4-4205-BD02-C87CB632F49D}" dt="2024-11-21T11:14:06.195" v="895" actId="478"/>
          <ac:spMkLst>
            <pc:docMk/>
            <pc:sldMk cId="2732091900" sldId="2589"/>
            <ac:spMk id="6" creationId="{F459525D-D98C-7711-EB09-F313E5231A03}"/>
          </ac:spMkLst>
        </pc:spChg>
        <pc:spChg chg="add del mod modVis">
          <ac:chgData name="Alexandre Fettermann Coutinho" userId="ba535c39-4054-42b2-abac-b5d0a4c19ecc" providerId="ADAL" clId="{9D18203E-ABB4-4205-BD02-C87CB632F49D}" dt="2024-11-21T11:15:14.883" v="920"/>
          <ac:spMkLst>
            <pc:docMk/>
            <pc:sldMk cId="2732091900" sldId="2589"/>
            <ac:spMk id="7" creationId="{993CF2FD-CE7E-BEF5-B6F8-70262A9D7CA0}"/>
          </ac:spMkLst>
        </pc:spChg>
        <pc:spChg chg="add del mod modVis">
          <ac:chgData name="Alexandre Fettermann Coutinho" userId="ba535c39-4054-42b2-abac-b5d0a4c19ecc" providerId="ADAL" clId="{9D18203E-ABB4-4205-BD02-C87CB632F49D}" dt="2024-11-21T11:15:16.266" v="961"/>
          <ac:spMkLst>
            <pc:docMk/>
            <pc:sldMk cId="2732091900" sldId="2589"/>
            <ac:spMk id="9" creationId="{F281FBD1-AEDC-700B-D4CA-0F20F3BE72C5}"/>
          </ac:spMkLst>
        </pc:spChg>
        <pc:spChg chg="del">
          <ac:chgData name="Alexandre Fettermann Coutinho" userId="ba535c39-4054-42b2-abac-b5d0a4c19ecc" providerId="ADAL" clId="{9D18203E-ABB4-4205-BD02-C87CB632F49D}" dt="2024-11-21T11:06:11.038" v="716"/>
          <ac:spMkLst>
            <pc:docMk/>
            <pc:sldMk cId="2732091900" sldId="2589"/>
            <ac:spMk id="10" creationId="{ADE57300-C7FF-4578-99A0-42B0295B123C}"/>
          </ac:spMkLst>
        </pc:spChg>
        <pc:spChg chg="add del mod modVis">
          <ac:chgData name="Alexandre Fettermann Coutinho" userId="ba535c39-4054-42b2-abac-b5d0a4c19ecc" providerId="ADAL" clId="{9D18203E-ABB4-4205-BD02-C87CB632F49D}" dt="2024-11-21T11:15:17.209" v="987"/>
          <ac:spMkLst>
            <pc:docMk/>
            <pc:sldMk cId="2732091900" sldId="2589"/>
            <ac:spMk id="11" creationId="{DFD92463-B31D-013B-CD09-6286132A2209}"/>
          </ac:spMkLst>
        </pc:spChg>
        <pc:spChg chg="del">
          <ac:chgData name="Alexandre Fettermann Coutinho" userId="ba535c39-4054-42b2-abac-b5d0a4c19ecc" providerId="ADAL" clId="{9D18203E-ABB4-4205-BD02-C87CB632F49D}" dt="2024-11-21T11:06:11.038" v="716"/>
          <ac:spMkLst>
            <pc:docMk/>
            <pc:sldMk cId="2732091900" sldId="2589"/>
            <ac:spMk id="12" creationId="{DB8F8250-7A81-4A19-87AD-FFB2CE4E39A5}"/>
          </ac:spMkLst>
        </pc:spChg>
        <pc:spChg chg="add del mod modVis">
          <ac:chgData name="Alexandre Fettermann Coutinho" userId="ba535c39-4054-42b2-abac-b5d0a4c19ecc" providerId="ADAL" clId="{9D18203E-ABB4-4205-BD02-C87CB632F49D}" dt="2024-11-21T11:15:20.182" v="1022"/>
          <ac:spMkLst>
            <pc:docMk/>
            <pc:sldMk cId="2732091900" sldId="2589"/>
            <ac:spMk id="13" creationId="{6CA00F4E-A631-792A-5F06-50F409F38787}"/>
          </ac:spMkLst>
        </pc:spChg>
        <pc:spChg chg="del">
          <ac:chgData name="Alexandre Fettermann Coutinho" userId="ba535c39-4054-42b2-abac-b5d0a4c19ecc" providerId="ADAL" clId="{9D18203E-ABB4-4205-BD02-C87CB632F49D}" dt="2024-11-21T11:06:11.038" v="716"/>
          <ac:spMkLst>
            <pc:docMk/>
            <pc:sldMk cId="2732091900" sldId="2589"/>
            <ac:spMk id="14" creationId="{499F38FC-2DEA-2647-C409-EF75720C1017}"/>
          </ac:spMkLst>
        </pc:spChg>
        <pc:spChg chg="add del mod modVis">
          <ac:chgData name="Alexandre Fettermann Coutinho" userId="ba535c39-4054-42b2-abac-b5d0a4c19ecc" providerId="ADAL" clId="{9D18203E-ABB4-4205-BD02-C87CB632F49D}" dt="2024-11-21T11:15:23.790" v="1048"/>
          <ac:spMkLst>
            <pc:docMk/>
            <pc:sldMk cId="2732091900" sldId="2589"/>
            <ac:spMk id="15" creationId="{F38A5D49-124C-0DDD-CB66-81C07725848E}"/>
          </ac:spMkLst>
        </pc:spChg>
        <pc:spChg chg="del">
          <ac:chgData name="Alexandre Fettermann Coutinho" userId="ba535c39-4054-42b2-abac-b5d0a4c19ecc" providerId="ADAL" clId="{9D18203E-ABB4-4205-BD02-C87CB632F49D}" dt="2024-11-21T11:06:11.038" v="716"/>
          <ac:spMkLst>
            <pc:docMk/>
            <pc:sldMk cId="2732091900" sldId="2589"/>
            <ac:spMk id="16" creationId="{9E10BDB4-64F2-477D-A03B-9F8352D5E02E}"/>
          </ac:spMkLst>
        </pc:spChg>
        <pc:spChg chg="add del mod modVis">
          <ac:chgData name="Alexandre Fettermann Coutinho" userId="ba535c39-4054-42b2-abac-b5d0a4c19ecc" providerId="ADAL" clId="{9D18203E-ABB4-4205-BD02-C87CB632F49D}" dt="2024-11-21T11:15:26.224" v="1074"/>
          <ac:spMkLst>
            <pc:docMk/>
            <pc:sldMk cId="2732091900" sldId="2589"/>
            <ac:spMk id="17" creationId="{6EAE77A4-E551-17E4-CD4B-4DE069258CE8}"/>
          </ac:spMkLst>
        </pc:spChg>
        <pc:spChg chg="del">
          <ac:chgData name="Alexandre Fettermann Coutinho" userId="ba535c39-4054-42b2-abac-b5d0a4c19ecc" providerId="ADAL" clId="{9D18203E-ABB4-4205-BD02-C87CB632F49D}" dt="2024-11-21T11:06:11.038" v="716"/>
          <ac:spMkLst>
            <pc:docMk/>
            <pc:sldMk cId="2732091900" sldId="2589"/>
            <ac:spMk id="18" creationId="{887F59F2-5FBC-40CD-AD35-376AECE49EA6}"/>
          </ac:spMkLst>
        </pc:spChg>
        <pc:spChg chg="add del mod modVis">
          <ac:chgData name="Alexandre Fettermann Coutinho" userId="ba535c39-4054-42b2-abac-b5d0a4c19ecc" providerId="ADAL" clId="{9D18203E-ABB4-4205-BD02-C87CB632F49D}" dt="2024-11-21T11:15:29.019" v="1100"/>
          <ac:spMkLst>
            <pc:docMk/>
            <pc:sldMk cId="2732091900" sldId="2589"/>
            <ac:spMk id="19" creationId="{70F995C0-0C0C-2014-9A3F-0B8FD167EE32}"/>
          </ac:spMkLst>
        </pc:spChg>
        <pc:spChg chg="del">
          <ac:chgData name="Alexandre Fettermann Coutinho" userId="ba535c39-4054-42b2-abac-b5d0a4c19ecc" providerId="ADAL" clId="{9D18203E-ABB4-4205-BD02-C87CB632F49D}" dt="2024-11-21T11:06:11.038" v="716"/>
          <ac:spMkLst>
            <pc:docMk/>
            <pc:sldMk cId="2732091900" sldId="2589"/>
            <ac:spMk id="20" creationId="{E94EA6C1-5B73-CB10-F9FB-B671500CC2D6}"/>
          </ac:spMkLst>
        </pc:spChg>
        <pc:spChg chg="add del mod">
          <ac:chgData name="Alexandre Fettermann Coutinho" userId="ba535c39-4054-42b2-abac-b5d0a4c19ecc" providerId="ADAL" clId="{9D18203E-ABB4-4205-BD02-C87CB632F49D}" dt="2024-11-21T11:17:27.078" v="1122" actId="478"/>
          <ac:spMkLst>
            <pc:docMk/>
            <pc:sldMk cId="2732091900" sldId="2589"/>
            <ac:spMk id="22" creationId="{364ABFD5-DBA5-E05B-97CE-A6D9012BF608}"/>
          </ac:spMkLst>
        </pc:spChg>
        <pc:spChg chg="add mod">
          <ac:chgData name="Alexandre Fettermann Coutinho" userId="ba535c39-4054-42b2-abac-b5d0a4c19ecc" providerId="ADAL" clId="{9D18203E-ABB4-4205-BD02-C87CB632F49D}" dt="2024-11-21T14:31:53.550" v="1231" actId="20577"/>
          <ac:spMkLst>
            <pc:docMk/>
            <pc:sldMk cId="2732091900" sldId="2589"/>
            <ac:spMk id="24" creationId="{13D30828-207D-85DC-5E90-20D7252BA474}"/>
          </ac:spMkLst>
        </pc:spChg>
        <pc:spChg chg="add mod">
          <ac:chgData name="Alexandre Fettermann Coutinho" userId="ba535c39-4054-42b2-abac-b5d0a4c19ecc" providerId="ADAL" clId="{9D18203E-ABB4-4205-BD02-C87CB632F49D}" dt="2024-11-21T14:27:26.097" v="1197" actId="20577"/>
          <ac:spMkLst>
            <pc:docMk/>
            <pc:sldMk cId="2732091900" sldId="2589"/>
            <ac:spMk id="26" creationId="{18C7EC0C-6753-1A75-C88F-76012E67E031}"/>
          </ac:spMkLst>
        </pc:spChg>
        <pc:spChg chg="add mod">
          <ac:chgData name="Alexandre Fettermann Coutinho" userId="ba535c39-4054-42b2-abac-b5d0a4c19ecc" providerId="ADAL" clId="{9D18203E-ABB4-4205-BD02-C87CB632F49D}" dt="2024-11-21T14:27:28.714" v="1200" actId="20577"/>
          <ac:spMkLst>
            <pc:docMk/>
            <pc:sldMk cId="2732091900" sldId="2589"/>
            <ac:spMk id="28" creationId="{D0D435BE-C803-580C-98E9-1D501BAC030A}"/>
          </ac:spMkLst>
        </pc:spChg>
        <pc:spChg chg="add mod">
          <ac:chgData name="Alexandre Fettermann Coutinho" userId="ba535c39-4054-42b2-abac-b5d0a4c19ecc" providerId="ADAL" clId="{9D18203E-ABB4-4205-BD02-C87CB632F49D}" dt="2024-11-21T14:27:31.347" v="1203" actId="20577"/>
          <ac:spMkLst>
            <pc:docMk/>
            <pc:sldMk cId="2732091900" sldId="2589"/>
            <ac:spMk id="30" creationId="{FD478FA5-684F-6D63-B526-BA56A5B6ACB3}"/>
          </ac:spMkLst>
        </pc:spChg>
        <pc:spChg chg="add mod">
          <ac:chgData name="Alexandre Fettermann Coutinho" userId="ba535c39-4054-42b2-abac-b5d0a4c19ecc" providerId="ADAL" clId="{9D18203E-ABB4-4205-BD02-C87CB632F49D}" dt="2024-11-21T14:27:34.564" v="1206" actId="20577"/>
          <ac:spMkLst>
            <pc:docMk/>
            <pc:sldMk cId="2732091900" sldId="2589"/>
            <ac:spMk id="32" creationId="{09C619FD-9B0F-BA6F-DEC2-EE772829B5A3}"/>
          </ac:spMkLst>
        </pc:spChg>
        <pc:spChg chg="add mod">
          <ac:chgData name="Alexandre Fettermann Coutinho" userId="ba535c39-4054-42b2-abac-b5d0a4c19ecc" providerId="ADAL" clId="{9D18203E-ABB4-4205-BD02-C87CB632F49D}" dt="2024-11-21T14:27:37.893" v="1209" actId="20577"/>
          <ac:spMkLst>
            <pc:docMk/>
            <pc:sldMk cId="2732091900" sldId="2589"/>
            <ac:spMk id="34" creationId="{A5A9E728-F9AA-94EA-32AB-07D9A98C7887}"/>
          </ac:spMkLst>
        </pc:spChg>
        <pc:spChg chg="add mod">
          <ac:chgData name="Alexandre Fettermann Coutinho" userId="ba535c39-4054-42b2-abac-b5d0a4c19ecc" providerId="ADAL" clId="{9D18203E-ABB4-4205-BD02-C87CB632F49D}" dt="2024-11-21T11:18:20.093" v="1126"/>
          <ac:spMkLst>
            <pc:docMk/>
            <pc:sldMk cId="2732091900" sldId="2589"/>
            <ac:spMk id="36" creationId="{929CBF4B-095E-EA66-7486-9C2DE82D590F}"/>
          </ac:spMkLst>
        </pc:spChg>
        <pc:spChg chg="add mod">
          <ac:chgData name="Alexandre Fettermann Coutinho" userId="ba535c39-4054-42b2-abac-b5d0a4c19ecc" providerId="ADAL" clId="{9D18203E-ABB4-4205-BD02-C87CB632F49D}" dt="2024-11-21T11:18:20.093" v="1126"/>
          <ac:spMkLst>
            <pc:docMk/>
            <pc:sldMk cId="2732091900" sldId="2589"/>
            <ac:spMk id="38" creationId="{B83180AD-9B9A-727F-2ED9-9ECE3B9B2150}"/>
          </ac:spMkLst>
        </pc:spChg>
        <pc:spChg chg="add mod">
          <ac:chgData name="Alexandre Fettermann Coutinho" userId="ba535c39-4054-42b2-abac-b5d0a4c19ecc" providerId="ADAL" clId="{9D18203E-ABB4-4205-BD02-C87CB632F49D}" dt="2024-11-21T11:18:20.093" v="1126"/>
          <ac:spMkLst>
            <pc:docMk/>
            <pc:sldMk cId="2732091900" sldId="2589"/>
            <ac:spMk id="40" creationId="{D60725C3-CA35-E907-8CB6-888827FD0AB5}"/>
          </ac:spMkLst>
        </pc:spChg>
        <pc:spChg chg="add mod">
          <ac:chgData name="Alexandre Fettermann Coutinho" userId="ba535c39-4054-42b2-abac-b5d0a4c19ecc" providerId="ADAL" clId="{9D18203E-ABB4-4205-BD02-C87CB632F49D}" dt="2024-11-21T11:18:20.093" v="1126"/>
          <ac:spMkLst>
            <pc:docMk/>
            <pc:sldMk cId="2732091900" sldId="2589"/>
            <ac:spMk id="42" creationId="{0EE63601-F6C5-3344-4F7E-FFEA352EDFAE}"/>
          </ac:spMkLst>
        </pc:spChg>
        <pc:spChg chg="add mod">
          <ac:chgData name="Alexandre Fettermann Coutinho" userId="ba535c39-4054-42b2-abac-b5d0a4c19ecc" providerId="ADAL" clId="{9D18203E-ABB4-4205-BD02-C87CB632F49D}" dt="2024-11-21T11:18:20.093" v="1126"/>
          <ac:spMkLst>
            <pc:docMk/>
            <pc:sldMk cId="2732091900" sldId="2589"/>
            <ac:spMk id="44" creationId="{3B80DAF7-027D-1D04-5D11-804EAE1FB131}"/>
          </ac:spMkLst>
        </pc:spChg>
        <pc:spChg chg="add mod">
          <ac:chgData name="Alexandre Fettermann Coutinho" userId="ba535c39-4054-42b2-abac-b5d0a4c19ecc" providerId="ADAL" clId="{9D18203E-ABB4-4205-BD02-C87CB632F49D}" dt="2024-11-21T11:18:20.093" v="1126"/>
          <ac:spMkLst>
            <pc:docMk/>
            <pc:sldMk cId="2732091900" sldId="2589"/>
            <ac:spMk id="45" creationId="{8D409D1C-249D-C979-0EEA-347D01643E32}"/>
          </ac:spMkLst>
        </pc:spChg>
        <pc:spChg chg="add mod">
          <ac:chgData name="Alexandre Fettermann Coutinho" userId="ba535c39-4054-42b2-abac-b5d0a4c19ecc" providerId="ADAL" clId="{9D18203E-ABB4-4205-BD02-C87CB632F49D}" dt="2024-11-21T11:18:20.093" v="1126"/>
          <ac:spMkLst>
            <pc:docMk/>
            <pc:sldMk cId="2732091900" sldId="2589"/>
            <ac:spMk id="47" creationId="{33E87D71-79B9-0F43-197D-1BED62EC3C4F}"/>
          </ac:spMkLst>
        </pc:spChg>
        <pc:spChg chg="add mod">
          <ac:chgData name="Alexandre Fettermann Coutinho" userId="ba535c39-4054-42b2-abac-b5d0a4c19ecc" providerId="ADAL" clId="{9D18203E-ABB4-4205-BD02-C87CB632F49D}" dt="2024-11-21T11:18:35.251" v="1127"/>
          <ac:spMkLst>
            <pc:docMk/>
            <pc:sldMk cId="2732091900" sldId="2589"/>
            <ac:spMk id="49" creationId="{ACD7C373-DF89-F441-AED8-2F7F50B1C748}"/>
          </ac:spMkLst>
        </pc:spChg>
        <pc:spChg chg="add mod">
          <ac:chgData name="Alexandre Fettermann Coutinho" userId="ba535c39-4054-42b2-abac-b5d0a4c19ecc" providerId="ADAL" clId="{9D18203E-ABB4-4205-BD02-C87CB632F49D}" dt="2024-11-21T11:18:35.251" v="1127"/>
          <ac:spMkLst>
            <pc:docMk/>
            <pc:sldMk cId="2732091900" sldId="2589"/>
            <ac:spMk id="51" creationId="{D6154021-991D-3074-00CE-5185ED5142D0}"/>
          </ac:spMkLst>
        </pc:spChg>
        <pc:spChg chg="add mod">
          <ac:chgData name="Alexandre Fettermann Coutinho" userId="ba535c39-4054-42b2-abac-b5d0a4c19ecc" providerId="ADAL" clId="{9D18203E-ABB4-4205-BD02-C87CB632F49D}" dt="2024-11-21T11:18:35.251" v="1127"/>
          <ac:spMkLst>
            <pc:docMk/>
            <pc:sldMk cId="2732091900" sldId="2589"/>
            <ac:spMk id="53" creationId="{3450E77A-AF77-B7FD-512C-4CE54B6BAC6A}"/>
          </ac:spMkLst>
        </pc:spChg>
        <pc:spChg chg="add mod">
          <ac:chgData name="Alexandre Fettermann Coutinho" userId="ba535c39-4054-42b2-abac-b5d0a4c19ecc" providerId="ADAL" clId="{9D18203E-ABB4-4205-BD02-C87CB632F49D}" dt="2024-11-21T11:18:35.251" v="1127"/>
          <ac:spMkLst>
            <pc:docMk/>
            <pc:sldMk cId="2732091900" sldId="2589"/>
            <ac:spMk id="55" creationId="{77F1EA24-5528-67A0-93AD-49A5FFC961E0}"/>
          </ac:spMkLst>
        </pc:spChg>
        <pc:spChg chg="add mod">
          <ac:chgData name="Alexandre Fettermann Coutinho" userId="ba535c39-4054-42b2-abac-b5d0a4c19ecc" providerId="ADAL" clId="{9D18203E-ABB4-4205-BD02-C87CB632F49D}" dt="2024-11-21T11:18:35.251" v="1127"/>
          <ac:spMkLst>
            <pc:docMk/>
            <pc:sldMk cId="2732091900" sldId="2589"/>
            <ac:spMk id="57" creationId="{E114DF8C-55DB-CA16-2EFC-05EAEB99724F}"/>
          </ac:spMkLst>
        </pc:spChg>
        <pc:spChg chg="add mod">
          <ac:chgData name="Alexandre Fettermann Coutinho" userId="ba535c39-4054-42b2-abac-b5d0a4c19ecc" providerId="ADAL" clId="{9D18203E-ABB4-4205-BD02-C87CB632F49D}" dt="2024-11-21T11:18:35.251" v="1127"/>
          <ac:spMkLst>
            <pc:docMk/>
            <pc:sldMk cId="2732091900" sldId="2589"/>
            <ac:spMk id="58" creationId="{EB4CAD92-DE54-7211-BD7E-29DEBEE23A3D}"/>
          </ac:spMkLst>
        </pc:spChg>
        <pc:spChg chg="add mod">
          <ac:chgData name="Alexandre Fettermann Coutinho" userId="ba535c39-4054-42b2-abac-b5d0a4c19ecc" providerId="ADAL" clId="{9D18203E-ABB4-4205-BD02-C87CB632F49D}" dt="2024-11-21T11:18:35.251" v="1127"/>
          <ac:spMkLst>
            <pc:docMk/>
            <pc:sldMk cId="2732091900" sldId="2589"/>
            <ac:spMk id="60" creationId="{89017C14-C8AD-D9E6-6334-D08287ED91F2}"/>
          </ac:spMkLst>
        </pc:spChg>
        <pc:spChg chg="add del mod">
          <ac:chgData name="Alexandre Fettermann Coutinho" userId="ba535c39-4054-42b2-abac-b5d0a4c19ecc" providerId="ADAL" clId="{9D18203E-ABB4-4205-BD02-C87CB632F49D}" dt="2024-11-21T14:31:37.903" v="1220" actId="478"/>
          <ac:spMkLst>
            <pc:docMk/>
            <pc:sldMk cId="2732091900" sldId="2589"/>
            <ac:spMk id="2049" creationId="{1C9BB9A3-BBF9-0974-5555-7083C0B9D50C}"/>
          </ac:spMkLst>
        </pc:spChg>
        <pc:graphicFrameChg chg="add mod ord modVis">
          <ac:chgData name="Alexandre Fettermann Coutinho" userId="ba535c39-4054-42b2-abac-b5d0a4c19ecc" providerId="ADAL" clId="{9D18203E-ABB4-4205-BD02-C87CB632F49D}" dt="2024-11-21T21:13:36.541" v="1321"/>
          <ac:graphicFrameMkLst>
            <pc:docMk/>
            <pc:sldMk cId="2732091900" sldId="2589"/>
            <ac:graphicFrameMk id="8" creationId="{D2AE6E58-22FB-59F0-08C9-EC7371D801A6}"/>
          </ac:graphicFrameMkLst>
        </pc:graphicFrameChg>
        <pc:picChg chg="del mod">
          <ac:chgData name="Alexandre Fettermann Coutinho" userId="ba535c39-4054-42b2-abac-b5d0a4c19ecc" providerId="ADAL" clId="{9D18203E-ABB4-4205-BD02-C87CB632F49D}" dt="2024-11-21T14:31:34.554" v="1219" actId="478"/>
          <ac:picMkLst>
            <pc:docMk/>
            <pc:sldMk cId="2732091900" sldId="2589"/>
            <ac:picMk id="5" creationId="{B72334C5-D958-417C-BC86-C6CA7855D7C2}"/>
          </ac:picMkLst>
        </pc:picChg>
        <pc:picChg chg="add del mod">
          <ac:chgData name="Alexandre Fettermann Coutinho" userId="ba535c39-4054-42b2-abac-b5d0a4c19ecc" providerId="ADAL" clId="{9D18203E-ABB4-4205-BD02-C87CB632F49D}" dt="2024-11-21T14:31:01.007" v="1214" actId="478"/>
          <ac:picMkLst>
            <pc:docMk/>
            <pc:sldMk cId="2732091900" sldId="2589"/>
            <ac:picMk id="23" creationId="{06B2B802-7600-E94B-E6E9-4E5A1AFC8F04}"/>
          </ac:picMkLst>
        </pc:picChg>
        <pc:picChg chg="add mod">
          <ac:chgData name="Alexandre Fettermann Coutinho" userId="ba535c39-4054-42b2-abac-b5d0a4c19ecc" providerId="ADAL" clId="{9D18203E-ABB4-4205-BD02-C87CB632F49D}" dt="2024-11-21T11:17:54.539" v="1125"/>
          <ac:picMkLst>
            <pc:docMk/>
            <pc:sldMk cId="2732091900" sldId="2589"/>
            <ac:picMk id="25" creationId="{5B866A33-3C7B-5154-BD23-2F19227E09C1}"/>
          </ac:picMkLst>
        </pc:picChg>
        <pc:picChg chg="add mod">
          <ac:chgData name="Alexandre Fettermann Coutinho" userId="ba535c39-4054-42b2-abac-b5d0a4c19ecc" providerId="ADAL" clId="{9D18203E-ABB4-4205-BD02-C87CB632F49D}" dt="2024-11-21T11:17:54.539" v="1125"/>
          <ac:picMkLst>
            <pc:docMk/>
            <pc:sldMk cId="2732091900" sldId="2589"/>
            <ac:picMk id="27" creationId="{1EDCC0B9-795A-E15F-FE07-1339B9458F2A}"/>
          </ac:picMkLst>
        </pc:picChg>
        <pc:picChg chg="add mod">
          <ac:chgData name="Alexandre Fettermann Coutinho" userId="ba535c39-4054-42b2-abac-b5d0a4c19ecc" providerId="ADAL" clId="{9D18203E-ABB4-4205-BD02-C87CB632F49D}" dt="2024-11-21T11:17:54.539" v="1125"/>
          <ac:picMkLst>
            <pc:docMk/>
            <pc:sldMk cId="2732091900" sldId="2589"/>
            <ac:picMk id="29" creationId="{4067C394-CF6A-D895-5CAB-EE7AED27EA91}"/>
          </ac:picMkLst>
        </pc:picChg>
        <pc:picChg chg="add mod">
          <ac:chgData name="Alexandre Fettermann Coutinho" userId="ba535c39-4054-42b2-abac-b5d0a4c19ecc" providerId="ADAL" clId="{9D18203E-ABB4-4205-BD02-C87CB632F49D}" dt="2024-11-21T11:17:54.539" v="1125"/>
          <ac:picMkLst>
            <pc:docMk/>
            <pc:sldMk cId="2732091900" sldId="2589"/>
            <ac:picMk id="31" creationId="{FFF9ADAF-419D-B85D-5A98-E65DE2B1545C}"/>
          </ac:picMkLst>
        </pc:picChg>
        <pc:picChg chg="add mod">
          <ac:chgData name="Alexandre Fettermann Coutinho" userId="ba535c39-4054-42b2-abac-b5d0a4c19ecc" providerId="ADAL" clId="{9D18203E-ABB4-4205-BD02-C87CB632F49D}" dt="2024-11-21T11:17:54.539" v="1125"/>
          <ac:picMkLst>
            <pc:docMk/>
            <pc:sldMk cId="2732091900" sldId="2589"/>
            <ac:picMk id="33" creationId="{19AEDC2D-4D8C-FF1A-3C8C-5A420C00C5C6}"/>
          </ac:picMkLst>
        </pc:picChg>
        <pc:picChg chg="add mod">
          <ac:chgData name="Alexandre Fettermann Coutinho" userId="ba535c39-4054-42b2-abac-b5d0a4c19ecc" providerId="ADAL" clId="{9D18203E-ABB4-4205-BD02-C87CB632F49D}" dt="2024-11-21T11:18:20.093" v="1126"/>
          <ac:picMkLst>
            <pc:docMk/>
            <pc:sldMk cId="2732091900" sldId="2589"/>
            <ac:picMk id="35" creationId="{E3B2BE30-85A4-A6E1-C849-5BB51FE9A954}"/>
          </ac:picMkLst>
        </pc:picChg>
        <pc:picChg chg="add mod">
          <ac:chgData name="Alexandre Fettermann Coutinho" userId="ba535c39-4054-42b2-abac-b5d0a4c19ecc" providerId="ADAL" clId="{9D18203E-ABB4-4205-BD02-C87CB632F49D}" dt="2024-11-21T11:18:20.093" v="1126"/>
          <ac:picMkLst>
            <pc:docMk/>
            <pc:sldMk cId="2732091900" sldId="2589"/>
            <ac:picMk id="37" creationId="{4343A815-9653-B5DC-FFEE-E1477F6E16CD}"/>
          </ac:picMkLst>
        </pc:picChg>
        <pc:picChg chg="add mod">
          <ac:chgData name="Alexandre Fettermann Coutinho" userId="ba535c39-4054-42b2-abac-b5d0a4c19ecc" providerId="ADAL" clId="{9D18203E-ABB4-4205-BD02-C87CB632F49D}" dt="2024-11-21T11:18:20.093" v="1126"/>
          <ac:picMkLst>
            <pc:docMk/>
            <pc:sldMk cId="2732091900" sldId="2589"/>
            <ac:picMk id="39" creationId="{784281EF-07B2-FF82-08FF-F9563753F5F8}"/>
          </ac:picMkLst>
        </pc:picChg>
        <pc:picChg chg="add mod">
          <ac:chgData name="Alexandre Fettermann Coutinho" userId="ba535c39-4054-42b2-abac-b5d0a4c19ecc" providerId="ADAL" clId="{9D18203E-ABB4-4205-BD02-C87CB632F49D}" dt="2024-11-21T11:18:20.093" v="1126"/>
          <ac:picMkLst>
            <pc:docMk/>
            <pc:sldMk cId="2732091900" sldId="2589"/>
            <ac:picMk id="41" creationId="{3BDDDAD6-20F1-8454-4F88-50D260E58774}"/>
          </ac:picMkLst>
        </pc:picChg>
        <pc:picChg chg="add mod">
          <ac:chgData name="Alexandre Fettermann Coutinho" userId="ba535c39-4054-42b2-abac-b5d0a4c19ecc" providerId="ADAL" clId="{9D18203E-ABB4-4205-BD02-C87CB632F49D}" dt="2024-11-21T11:18:20.093" v="1126"/>
          <ac:picMkLst>
            <pc:docMk/>
            <pc:sldMk cId="2732091900" sldId="2589"/>
            <ac:picMk id="43" creationId="{A2DD0664-BA8C-6E98-8B5E-80EC77C64B69}"/>
          </ac:picMkLst>
        </pc:picChg>
        <pc:picChg chg="add mod">
          <ac:chgData name="Alexandre Fettermann Coutinho" userId="ba535c39-4054-42b2-abac-b5d0a4c19ecc" providerId="ADAL" clId="{9D18203E-ABB4-4205-BD02-C87CB632F49D}" dt="2024-11-21T11:18:20.093" v="1126"/>
          <ac:picMkLst>
            <pc:docMk/>
            <pc:sldMk cId="2732091900" sldId="2589"/>
            <ac:picMk id="46" creationId="{8CD60507-5CE1-2E9D-083A-6EBBE267DEB6}"/>
          </ac:picMkLst>
        </pc:picChg>
        <pc:picChg chg="add mod">
          <ac:chgData name="Alexandre Fettermann Coutinho" userId="ba535c39-4054-42b2-abac-b5d0a4c19ecc" providerId="ADAL" clId="{9D18203E-ABB4-4205-BD02-C87CB632F49D}" dt="2024-11-21T11:18:35.251" v="1127"/>
          <ac:picMkLst>
            <pc:docMk/>
            <pc:sldMk cId="2732091900" sldId="2589"/>
            <ac:picMk id="48" creationId="{B9653BD5-B6E8-2C5C-ECDF-390C2C06E739}"/>
          </ac:picMkLst>
        </pc:picChg>
        <pc:picChg chg="add mod">
          <ac:chgData name="Alexandre Fettermann Coutinho" userId="ba535c39-4054-42b2-abac-b5d0a4c19ecc" providerId="ADAL" clId="{9D18203E-ABB4-4205-BD02-C87CB632F49D}" dt="2024-11-21T11:18:35.251" v="1127"/>
          <ac:picMkLst>
            <pc:docMk/>
            <pc:sldMk cId="2732091900" sldId="2589"/>
            <ac:picMk id="50" creationId="{94F9B217-5E6A-A488-C72A-FB1C4A99E942}"/>
          </ac:picMkLst>
        </pc:picChg>
        <pc:picChg chg="add mod">
          <ac:chgData name="Alexandre Fettermann Coutinho" userId="ba535c39-4054-42b2-abac-b5d0a4c19ecc" providerId="ADAL" clId="{9D18203E-ABB4-4205-BD02-C87CB632F49D}" dt="2024-11-21T11:18:35.251" v="1127"/>
          <ac:picMkLst>
            <pc:docMk/>
            <pc:sldMk cId="2732091900" sldId="2589"/>
            <ac:picMk id="52" creationId="{275CAB57-EAEE-9DD7-29A1-C0D2D1A0B6AC}"/>
          </ac:picMkLst>
        </pc:picChg>
        <pc:picChg chg="add mod">
          <ac:chgData name="Alexandre Fettermann Coutinho" userId="ba535c39-4054-42b2-abac-b5d0a4c19ecc" providerId="ADAL" clId="{9D18203E-ABB4-4205-BD02-C87CB632F49D}" dt="2024-11-21T11:18:35.251" v="1127"/>
          <ac:picMkLst>
            <pc:docMk/>
            <pc:sldMk cId="2732091900" sldId="2589"/>
            <ac:picMk id="54" creationId="{5A8E9D3A-0C54-EB8F-D300-7B965886668B}"/>
          </ac:picMkLst>
        </pc:picChg>
        <pc:picChg chg="add mod">
          <ac:chgData name="Alexandre Fettermann Coutinho" userId="ba535c39-4054-42b2-abac-b5d0a4c19ecc" providerId="ADAL" clId="{9D18203E-ABB4-4205-BD02-C87CB632F49D}" dt="2024-11-21T11:18:35.251" v="1127"/>
          <ac:picMkLst>
            <pc:docMk/>
            <pc:sldMk cId="2732091900" sldId="2589"/>
            <ac:picMk id="56" creationId="{3BC33771-3718-94E2-DCEA-D0FB5DACC9E0}"/>
          </ac:picMkLst>
        </pc:picChg>
        <pc:picChg chg="add mod">
          <ac:chgData name="Alexandre Fettermann Coutinho" userId="ba535c39-4054-42b2-abac-b5d0a4c19ecc" providerId="ADAL" clId="{9D18203E-ABB4-4205-BD02-C87CB632F49D}" dt="2024-11-21T11:18:35.251" v="1127"/>
          <ac:picMkLst>
            <pc:docMk/>
            <pc:sldMk cId="2732091900" sldId="2589"/>
            <ac:picMk id="59" creationId="{BAF405E3-D54E-1BC4-5762-5A64901696DE}"/>
          </ac:picMkLst>
        </pc:picChg>
        <pc:picChg chg="add del mod">
          <ac:chgData name="Alexandre Fettermann Coutinho" userId="ba535c39-4054-42b2-abac-b5d0a4c19ecc" providerId="ADAL" clId="{9D18203E-ABB4-4205-BD02-C87CB632F49D}" dt="2024-11-21T11:20:53.491" v="1140" actId="478"/>
          <ac:picMkLst>
            <pc:docMk/>
            <pc:sldMk cId="2732091900" sldId="2589"/>
            <ac:picMk id="61" creationId="{E7BEC1C4-5B3E-7492-ED63-62300C67644B}"/>
          </ac:picMkLst>
        </pc:picChg>
        <pc:picChg chg="add mod">
          <ac:chgData name="Alexandre Fettermann Coutinho" userId="ba535c39-4054-42b2-abac-b5d0a4c19ecc" providerId="ADAL" clId="{9D18203E-ABB4-4205-BD02-C87CB632F49D}" dt="2024-11-21T14:31:11.381" v="1218" actId="1076"/>
          <ac:picMkLst>
            <pc:docMk/>
            <pc:sldMk cId="2732091900" sldId="2589"/>
            <ac:picMk id="63" creationId="{BB0813E0-A83A-CD72-776E-BDB3A9F699F8}"/>
          </ac:picMkLst>
        </pc:picChg>
        <pc:picChg chg="add mod">
          <ac:chgData name="Alexandre Fettermann Coutinho" userId="ba535c39-4054-42b2-abac-b5d0a4c19ecc" providerId="ADAL" clId="{9D18203E-ABB4-4205-BD02-C87CB632F49D}" dt="2024-11-21T11:16:38.314" v="1110" actId="1076"/>
          <ac:picMkLst>
            <pc:docMk/>
            <pc:sldMk cId="2732091900" sldId="2589"/>
            <ac:picMk id="2050" creationId="{F684D1B3-F071-4E30-A36C-8E8EEFC085F9}"/>
          </ac:picMkLst>
        </pc:picChg>
      </pc:sldChg>
      <pc:sldChg chg="addSp delSp modSp add mod setBg delDesignElem">
        <pc:chgData name="Alexandre Fettermann Coutinho" userId="ba535c39-4054-42b2-abac-b5d0a4c19ecc" providerId="ADAL" clId="{9D18203E-ABB4-4205-BD02-C87CB632F49D}" dt="2024-11-22T14:17:11.115" v="2057" actId="1076"/>
        <pc:sldMkLst>
          <pc:docMk/>
          <pc:sldMk cId="3621831129" sldId="2590"/>
        </pc:sldMkLst>
        <pc:spChg chg="mod">
          <ac:chgData name="Alexandre Fettermann Coutinho" userId="ba535c39-4054-42b2-abac-b5d0a4c19ecc" providerId="ADAL" clId="{9D18203E-ABB4-4205-BD02-C87CB632F49D}" dt="2024-11-22T14:09:06.247" v="1986"/>
          <ac:spMkLst>
            <pc:docMk/>
            <pc:sldMk cId="3621831129" sldId="2590"/>
            <ac:spMk id="2" creationId="{219E5E74-9587-659B-6A2C-CA14F7C08461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09:05.539" v="1982"/>
          <ac:spMkLst>
            <pc:docMk/>
            <pc:sldMk cId="3621831129" sldId="2590"/>
            <ac:spMk id="4" creationId="{A9040808-02BE-E9A5-2CE2-4C79203A339A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09:06.265" v="2008"/>
          <ac:spMkLst>
            <pc:docMk/>
            <pc:sldMk cId="3621831129" sldId="2590"/>
            <ac:spMk id="5" creationId="{D307E6FD-1703-CD99-B2E0-AC7B63EFA7D4}"/>
          </ac:spMkLst>
        </pc:spChg>
        <pc:spChg chg="add mod">
          <ac:chgData name="Alexandre Fettermann Coutinho" userId="ba535c39-4054-42b2-abac-b5d0a4c19ecc" providerId="ADAL" clId="{9D18203E-ABB4-4205-BD02-C87CB632F49D}" dt="2024-11-22T14:17:11.115" v="2057" actId="1076"/>
          <ac:spMkLst>
            <pc:docMk/>
            <pc:sldMk cId="3621831129" sldId="2590"/>
            <ac:spMk id="6" creationId="{662B5B91-69E4-93B6-DBE3-77E7A6033FB6}"/>
          </ac:spMkLst>
        </pc:spChg>
        <pc:spChg chg="del">
          <ac:chgData name="Alexandre Fettermann Coutinho" userId="ba535c39-4054-42b2-abac-b5d0a4c19ecc" providerId="ADAL" clId="{9D18203E-ABB4-4205-BD02-C87CB632F49D}" dt="2024-11-22T14:06:51.070" v="1923"/>
          <ac:spMkLst>
            <pc:docMk/>
            <pc:sldMk cId="3621831129" sldId="2590"/>
            <ac:spMk id="11" creationId="{DEF92653-5D6D-47E6-8744-0DAF76E049C4}"/>
          </ac:spMkLst>
        </pc:spChg>
        <pc:graphicFrameChg chg="add mod ord modVis">
          <ac:chgData name="Alexandre Fettermann Coutinho" userId="ba535c39-4054-42b2-abac-b5d0a4c19ecc" providerId="ADAL" clId="{9D18203E-ABB4-4205-BD02-C87CB632F49D}" dt="2024-11-22T14:09:06.266" v="2010"/>
          <ac:graphicFrameMkLst>
            <pc:docMk/>
            <pc:sldMk cId="3621831129" sldId="2590"/>
            <ac:graphicFrameMk id="3" creationId="{1E26130E-3AB5-7A9F-83D6-C3624EC5E2EB}"/>
          </ac:graphicFrameMkLst>
        </pc:graphicFrameChg>
        <pc:picChg chg="add mod">
          <ac:chgData name="Alexandre Fettermann Coutinho" userId="ba535c39-4054-42b2-abac-b5d0a4c19ecc" providerId="ADAL" clId="{9D18203E-ABB4-4205-BD02-C87CB632F49D}" dt="2024-11-22T14:11:56.354" v="2017"/>
          <ac:picMkLst>
            <pc:docMk/>
            <pc:sldMk cId="3621831129" sldId="2590"/>
            <ac:picMk id="1026" creationId="{475FD629-08D4-D6A9-F701-003DF884B204}"/>
          </ac:picMkLst>
        </pc:picChg>
        <pc:picChg chg="add mod">
          <ac:chgData name="Alexandre Fettermann Coutinho" userId="ba535c39-4054-42b2-abac-b5d0a4c19ecc" providerId="ADAL" clId="{9D18203E-ABB4-4205-BD02-C87CB632F49D}" dt="2024-11-22T14:10:37.021" v="2016" actId="1076"/>
          <ac:picMkLst>
            <pc:docMk/>
            <pc:sldMk cId="3621831129" sldId="2590"/>
            <ac:picMk id="1028" creationId="{464F5EA8-7FFB-FA17-7999-F2F9C4A8D1CC}"/>
          </ac:picMkLst>
        </pc:picChg>
        <pc:cxnChg chg="del">
          <ac:chgData name="Alexandre Fettermann Coutinho" userId="ba535c39-4054-42b2-abac-b5d0a4c19ecc" providerId="ADAL" clId="{9D18203E-ABB4-4205-BD02-C87CB632F49D}" dt="2024-11-22T14:06:51.070" v="1923"/>
          <ac:cxnSpMkLst>
            <pc:docMk/>
            <pc:sldMk cId="3621831129" sldId="2590"/>
            <ac:cxnSpMk id="7" creationId="{F64F9B95-9045-48D2-B9F3-2927E98F54AA}"/>
          </ac:cxnSpMkLst>
        </pc:cxnChg>
        <pc:cxnChg chg="del">
          <ac:chgData name="Alexandre Fettermann Coutinho" userId="ba535c39-4054-42b2-abac-b5d0a4c19ecc" providerId="ADAL" clId="{9D18203E-ABB4-4205-BD02-C87CB632F49D}" dt="2024-11-22T14:06:51.070" v="1923"/>
          <ac:cxnSpMkLst>
            <pc:docMk/>
            <pc:sldMk cId="3621831129" sldId="2590"/>
            <ac:cxnSpMk id="9" creationId="{085AA86F-6A4D-4BCB-A045-D992CDC2959B}"/>
          </ac:cxnSpMkLst>
        </pc:cxnChg>
        <pc:cxnChg chg="del">
          <ac:chgData name="Alexandre Fettermann Coutinho" userId="ba535c39-4054-42b2-abac-b5d0a4c19ecc" providerId="ADAL" clId="{9D18203E-ABB4-4205-BD02-C87CB632F49D}" dt="2024-11-22T14:06:51.070" v="1923"/>
          <ac:cxnSpMkLst>
            <pc:docMk/>
            <pc:sldMk cId="3621831129" sldId="2590"/>
            <ac:cxnSpMk id="13" creationId="{67CEFA70-4D11-644F-D4FB-AFFE8747ECCA}"/>
          </ac:cxnSpMkLst>
        </pc:cxnChg>
      </pc:sldChg>
      <pc:sldChg chg="addSp delSp modSp add mod setBg modAnim delDesignElem">
        <pc:chgData name="Alexandre Fettermann Coutinho" userId="ba535c39-4054-42b2-abac-b5d0a4c19ecc" providerId="ADAL" clId="{9D18203E-ABB4-4205-BD02-C87CB632F49D}" dt="2024-11-22T14:25:20.906" v="2337" actId="20577"/>
        <pc:sldMkLst>
          <pc:docMk/>
          <pc:sldMk cId="2748835031" sldId="2591"/>
        </pc:sldMkLst>
        <pc:spChg chg="mod">
          <ac:chgData name="Alexandre Fettermann Coutinho" userId="ba535c39-4054-42b2-abac-b5d0a4c19ecc" providerId="ADAL" clId="{9D18203E-ABB4-4205-BD02-C87CB632F49D}" dt="2024-11-22T14:19:53.227" v="2213" actId="948"/>
          <ac:spMkLst>
            <pc:docMk/>
            <pc:sldMk cId="2748835031" sldId="2591"/>
            <ac:spMk id="2" creationId="{72EE213D-FA4A-5CE8-E6AC-8178B39B01E1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17:34.760" v="2086"/>
          <ac:spMkLst>
            <pc:docMk/>
            <pc:sldMk cId="2748835031" sldId="2591"/>
            <ac:spMk id="3" creationId="{3779B3D8-1BA3-0FF3-77FC-67A05FCA0EB9}"/>
          </ac:spMkLst>
        </pc:spChg>
        <pc:spChg chg="mod">
          <ac:chgData name="Alexandre Fettermann Coutinho" userId="ba535c39-4054-42b2-abac-b5d0a4c19ecc" providerId="ADAL" clId="{9D18203E-ABB4-4205-BD02-C87CB632F49D}" dt="2024-11-22T14:24:39.818" v="2258" actId="27636"/>
          <ac:spMkLst>
            <pc:docMk/>
            <pc:sldMk cId="2748835031" sldId="2591"/>
            <ac:spMk id="4" creationId="{0B5EF84B-A4A4-5FCC-1B95-4F5679F15A7C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17:37.695" v="2127"/>
          <ac:spMkLst>
            <pc:docMk/>
            <pc:sldMk cId="2748835031" sldId="2591"/>
            <ac:spMk id="7" creationId="{94073684-6068-D57B-A674-0C2D19212DA6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17:38.895" v="2153"/>
          <ac:spMkLst>
            <pc:docMk/>
            <pc:sldMk cId="2748835031" sldId="2591"/>
            <ac:spMk id="8" creationId="{6AE2E2AA-303B-3CF3-1ECB-EC4405B42F48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17:41.377" v="2184"/>
          <ac:spMkLst>
            <pc:docMk/>
            <pc:sldMk cId="2748835031" sldId="2591"/>
            <ac:spMk id="9" creationId="{2EB0322A-1692-C39E-8980-92005AB36547}"/>
          </ac:spMkLst>
        </pc:spChg>
        <pc:spChg chg="add del mod">
          <ac:chgData name="Alexandre Fettermann Coutinho" userId="ba535c39-4054-42b2-abac-b5d0a4c19ecc" providerId="ADAL" clId="{9D18203E-ABB4-4205-BD02-C87CB632F49D}" dt="2024-11-22T14:18:08.155" v="2188"/>
          <ac:spMkLst>
            <pc:docMk/>
            <pc:sldMk cId="2748835031" sldId="2591"/>
            <ac:spMk id="13" creationId="{B0BB0224-E39F-58B7-056D-3F5EF6561D9D}"/>
          </ac:spMkLst>
        </pc:spChg>
        <pc:spChg chg="del">
          <ac:chgData name="Alexandre Fettermann Coutinho" userId="ba535c39-4054-42b2-abac-b5d0a4c19ecc" providerId="ADAL" clId="{9D18203E-ABB4-4205-BD02-C87CB632F49D}" dt="2024-11-22T14:17:28.910" v="2059"/>
          <ac:spMkLst>
            <pc:docMk/>
            <pc:sldMk cId="2748835031" sldId="2591"/>
            <ac:spMk id="14" creationId="{E49D7415-2F11-44C2-B6AA-13A25B6814B9}"/>
          </ac:spMkLst>
        </pc:spChg>
        <pc:spChg chg="add del mod">
          <ac:chgData name="Alexandre Fettermann Coutinho" userId="ba535c39-4054-42b2-abac-b5d0a4c19ecc" providerId="ADAL" clId="{9D18203E-ABB4-4205-BD02-C87CB632F49D}" dt="2024-11-22T14:19:41.275" v="2209"/>
          <ac:spMkLst>
            <pc:docMk/>
            <pc:sldMk cId="2748835031" sldId="2591"/>
            <ac:spMk id="15" creationId="{49497D0B-6DB1-7C9F-8FD7-8FB05BF4DC64}"/>
          </ac:spMkLst>
        </pc:spChg>
        <pc:spChg chg="add del mod">
          <ac:chgData name="Alexandre Fettermann Coutinho" userId="ba535c39-4054-42b2-abac-b5d0a4c19ecc" providerId="ADAL" clId="{9D18203E-ABB4-4205-BD02-C87CB632F49D}" dt="2024-11-22T14:19:07.519" v="2201" actId="478"/>
          <ac:spMkLst>
            <pc:docMk/>
            <pc:sldMk cId="2748835031" sldId="2591"/>
            <ac:spMk id="21" creationId="{8D302C04-BFD1-8587-402F-FB8413ED14F8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19:53.261" v="2235"/>
          <ac:spMkLst>
            <pc:docMk/>
            <pc:sldMk cId="2748835031" sldId="2591"/>
            <ac:spMk id="22" creationId="{A592EC44-18EF-1DFE-72B4-C6E6178BFB78}"/>
          </ac:spMkLst>
        </pc:spChg>
        <pc:spChg chg="add mod">
          <ac:chgData name="Alexandre Fettermann Coutinho" userId="ba535c39-4054-42b2-abac-b5d0a4c19ecc" providerId="ADAL" clId="{9D18203E-ABB4-4205-BD02-C87CB632F49D}" dt="2024-11-22T14:24:33.020" v="2256" actId="120"/>
          <ac:spMkLst>
            <pc:docMk/>
            <pc:sldMk cId="2748835031" sldId="2591"/>
            <ac:spMk id="23" creationId="{1E0F945A-935A-A45A-F986-C17B5B14A54B}"/>
          </ac:spMkLst>
        </pc:spChg>
        <pc:spChg chg="add mod">
          <ac:chgData name="Alexandre Fettermann Coutinho" userId="ba535c39-4054-42b2-abac-b5d0a4c19ecc" providerId="ADAL" clId="{9D18203E-ABB4-4205-BD02-C87CB632F49D}" dt="2024-11-22T14:25:20.906" v="2337" actId="20577"/>
          <ac:spMkLst>
            <pc:docMk/>
            <pc:sldMk cId="2748835031" sldId="2591"/>
            <ac:spMk id="24" creationId="{5B20B368-AB72-1DCD-C8A0-77FC1A4ACFEA}"/>
          </ac:spMkLst>
        </pc:spChg>
        <pc:graphicFrameChg chg="add mod ord modVis">
          <ac:chgData name="Alexandre Fettermann Coutinho" userId="ba535c39-4054-42b2-abac-b5d0a4c19ecc" providerId="ADAL" clId="{9D18203E-ABB4-4205-BD02-C87CB632F49D}" dt="2024-11-22T14:19:53.263" v="2237"/>
          <ac:graphicFrameMkLst>
            <pc:docMk/>
            <pc:sldMk cId="2748835031" sldId="2591"/>
            <ac:graphicFrameMk id="6" creationId="{E7B0F964-FA36-D582-5858-D02AC3D57C32}"/>
          </ac:graphicFrameMkLst>
        </pc:graphicFrameChg>
        <pc:picChg chg="del">
          <ac:chgData name="Alexandre Fettermann Coutinho" userId="ba535c39-4054-42b2-abac-b5d0a4c19ecc" providerId="ADAL" clId="{9D18203E-ABB4-4205-BD02-C87CB632F49D}" dt="2024-11-22T14:17:44.016" v="2187" actId="478"/>
          <ac:picMkLst>
            <pc:docMk/>
            <pc:sldMk cId="2748835031" sldId="2591"/>
            <ac:picMk id="5" creationId="{46076731-9025-4DF7-8878-59FFE57F8E57}"/>
          </ac:picMkLst>
        </pc:picChg>
        <pc:picChg chg="add del mod ord">
          <ac:chgData name="Alexandre Fettermann Coutinho" userId="ba535c39-4054-42b2-abac-b5d0a4c19ecc" providerId="ADAL" clId="{9D18203E-ABB4-4205-BD02-C87CB632F49D}" dt="2024-11-22T14:19:10.694" v="2208" actId="22"/>
          <ac:picMkLst>
            <pc:docMk/>
            <pc:sldMk cId="2748835031" sldId="2591"/>
            <ac:picMk id="19" creationId="{65582B7B-95C1-828B-68F4-961ED6EF8797}"/>
          </ac:picMkLst>
        </pc:picChg>
        <pc:picChg chg="add del mod">
          <ac:chgData name="Alexandre Fettermann Coutinho" userId="ba535c39-4054-42b2-abac-b5d0a4c19ecc" providerId="ADAL" clId="{9D18203E-ABB4-4205-BD02-C87CB632F49D}" dt="2024-11-22T14:18:22.842" v="2192" actId="478"/>
          <ac:picMkLst>
            <pc:docMk/>
            <pc:sldMk cId="2748835031" sldId="2591"/>
            <ac:picMk id="2050" creationId="{C39E3E47-5104-BA15-0F11-E8787AE7E709}"/>
          </ac:picMkLst>
        </pc:picChg>
        <pc:picChg chg="add mod">
          <ac:chgData name="Alexandre Fettermann Coutinho" userId="ba535c39-4054-42b2-abac-b5d0a4c19ecc" providerId="ADAL" clId="{9D18203E-ABB4-4205-BD02-C87CB632F49D}" dt="2024-11-22T14:19:46.026" v="2210" actId="1076"/>
          <ac:picMkLst>
            <pc:docMk/>
            <pc:sldMk cId="2748835031" sldId="2591"/>
            <ac:picMk id="2052" creationId="{55A40C05-58B5-2104-3F95-C8211ADDF0BA}"/>
          </ac:picMkLst>
        </pc:picChg>
        <pc:cxnChg chg="del">
          <ac:chgData name="Alexandre Fettermann Coutinho" userId="ba535c39-4054-42b2-abac-b5d0a4c19ecc" providerId="ADAL" clId="{9D18203E-ABB4-4205-BD02-C87CB632F49D}" dt="2024-11-22T14:17:28.910" v="2059"/>
          <ac:cxnSpMkLst>
            <pc:docMk/>
            <pc:sldMk cId="2748835031" sldId="2591"/>
            <ac:cxnSpMk id="10" creationId="{F64F9B95-9045-48D2-B9F3-2927E98F54AA}"/>
          </ac:cxnSpMkLst>
        </pc:cxnChg>
        <pc:cxnChg chg="del">
          <ac:chgData name="Alexandre Fettermann Coutinho" userId="ba535c39-4054-42b2-abac-b5d0a4c19ecc" providerId="ADAL" clId="{9D18203E-ABB4-4205-BD02-C87CB632F49D}" dt="2024-11-22T14:17:28.910" v="2059"/>
          <ac:cxnSpMkLst>
            <pc:docMk/>
            <pc:sldMk cId="2748835031" sldId="2591"/>
            <ac:cxnSpMk id="12" creationId="{085AA86F-6A4D-4BCB-A045-D992CDC2959B}"/>
          </ac:cxnSpMkLst>
        </pc:cxnChg>
        <pc:cxnChg chg="del">
          <ac:chgData name="Alexandre Fettermann Coutinho" userId="ba535c39-4054-42b2-abac-b5d0a4c19ecc" providerId="ADAL" clId="{9D18203E-ABB4-4205-BD02-C87CB632F49D}" dt="2024-11-22T14:17:28.910" v="2059"/>
          <ac:cxnSpMkLst>
            <pc:docMk/>
            <pc:sldMk cId="2748835031" sldId="2591"/>
            <ac:cxnSpMk id="16" creationId="{D2E57F3D-33BE-4306-87E6-245763719516}"/>
          </ac:cxnSpMkLst>
        </pc:cxnChg>
        <pc:cxnChg chg="del">
          <ac:chgData name="Alexandre Fettermann Coutinho" userId="ba535c39-4054-42b2-abac-b5d0a4c19ecc" providerId="ADAL" clId="{9D18203E-ABB4-4205-BD02-C87CB632F49D}" dt="2024-11-22T14:17:28.910" v="2059"/>
          <ac:cxnSpMkLst>
            <pc:docMk/>
            <pc:sldMk cId="2748835031" sldId="2591"/>
            <ac:cxnSpMk id="18" creationId="{8E0104E4-99BC-494F-8342-F250828E574F}"/>
          </ac:cxnSpMkLst>
        </pc:cxnChg>
      </pc:sldChg>
      <pc:sldChg chg="addSp delSp modSp add mod delAnim">
        <pc:chgData name="Alexandre Fettermann Coutinho" userId="ba535c39-4054-42b2-abac-b5d0a4c19ecc" providerId="ADAL" clId="{9D18203E-ABB4-4205-BD02-C87CB632F49D}" dt="2024-11-22T14:32:30.975" v="2607" actId="6549"/>
        <pc:sldMkLst>
          <pc:docMk/>
          <pc:sldMk cId="4019616937" sldId="2592"/>
        </pc:sldMkLst>
        <pc:spChg chg="mod">
          <ac:chgData name="Alexandre Fettermann Coutinho" userId="ba535c39-4054-42b2-abac-b5d0a4c19ecc" providerId="ADAL" clId="{9D18203E-ABB4-4205-BD02-C87CB632F49D}" dt="2024-11-22T14:28:13.650" v="2533" actId="948"/>
          <ac:spMkLst>
            <pc:docMk/>
            <pc:sldMk cId="4019616937" sldId="2592"/>
            <ac:spMk id="2" creationId="{72EE213D-FA4A-5CE8-E6AC-8178B39B01E1}"/>
          </ac:spMkLst>
        </pc:spChg>
        <pc:spChg chg="del">
          <ac:chgData name="Alexandre Fettermann Coutinho" userId="ba535c39-4054-42b2-abac-b5d0a4c19ecc" providerId="ADAL" clId="{9D18203E-ABB4-4205-BD02-C87CB632F49D}" dt="2024-11-22T14:26:52.239" v="2339" actId="478"/>
          <ac:spMkLst>
            <pc:docMk/>
            <pc:sldMk cId="4019616937" sldId="2592"/>
            <ac:spMk id="4" creationId="{0B5EF84B-A4A4-5FCC-1B95-4F5679F15A7C}"/>
          </ac:spMkLst>
        </pc:spChg>
        <pc:spChg chg="add mod">
          <ac:chgData name="Alexandre Fettermann Coutinho" userId="ba535c39-4054-42b2-abac-b5d0a4c19ecc" providerId="ADAL" clId="{9D18203E-ABB4-4205-BD02-C87CB632F49D}" dt="2024-11-22T14:31:43.272" v="2602" actId="27636"/>
          <ac:spMkLst>
            <pc:docMk/>
            <pc:sldMk cId="4019616937" sldId="2592"/>
            <ac:spMk id="5" creationId="{DDFF3F10-5352-6062-D105-5F7B602D9D9F}"/>
          </ac:spMkLst>
        </pc:spChg>
        <pc:spChg chg="add del mod">
          <ac:chgData name="Alexandre Fettermann Coutinho" userId="ba535c39-4054-42b2-abac-b5d0a4c19ecc" providerId="ADAL" clId="{9D18203E-ABB4-4205-BD02-C87CB632F49D}" dt="2024-11-22T14:29:21.124" v="2560" actId="931"/>
          <ac:spMkLst>
            <pc:docMk/>
            <pc:sldMk cId="4019616937" sldId="2592"/>
            <ac:spMk id="7" creationId="{9E404B82-0694-FCB3-231B-D6B898B955E4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27:58.390" v="2364"/>
          <ac:spMkLst>
            <pc:docMk/>
            <pc:sldMk cId="4019616937" sldId="2592"/>
            <ac:spMk id="8" creationId="{04A0352E-7668-C0FC-A7D9-6001B462171A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28:00.065" v="2390"/>
          <ac:spMkLst>
            <pc:docMk/>
            <pc:sldMk cId="4019616937" sldId="2592"/>
            <ac:spMk id="9" creationId="{0CF2B499-12CB-5F5E-64F7-BCE5E447009C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28:01.956" v="2416"/>
          <ac:spMkLst>
            <pc:docMk/>
            <pc:sldMk cId="4019616937" sldId="2592"/>
            <ac:spMk id="10" creationId="{4DDB23BA-1BAE-1242-0998-8AD12EC20BAC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28:07.722" v="2458"/>
          <ac:spMkLst>
            <pc:docMk/>
            <pc:sldMk cId="4019616937" sldId="2592"/>
            <ac:spMk id="11" creationId="{9D0184F1-0BCD-11BA-F1F5-F75301F55897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28:08.625" v="2485"/>
          <ac:spMkLst>
            <pc:docMk/>
            <pc:sldMk cId="4019616937" sldId="2592"/>
            <ac:spMk id="12" creationId="{1C70D10F-FDE9-83AA-4524-29D1077F90AF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28:09.375" v="2512"/>
          <ac:spMkLst>
            <pc:docMk/>
            <pc:sldMk cId="4019616937" sldId="2592"/>
            <ac:spMk id="13" creationId="{78370C0E-14C1-8948-13C1-55833A8F4D2A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28:13.660" v="2555"/>
          <ac:spMkLst>
            <pc:docMk/>
            <pc:sldMk cId="4019616937" sldId="2592"/>
            <ac:spMk id="14" creationId="{917658AA-6FAA-6CCC-B7BA-99F2185377A9}"/>
          </ac:spMkLst>
        </pc:spChg>
        <pc:spChg chg="add mod">
          <ac:chgData name="Alexandre Fettermann Coutinho" userId="ba535c39-4054-42b2-abac-b5d0a4c19ecc" providerId="ADAL" clId="{9D18203E-ABB4-4205-BD02-C87CB632F49D}" dt="2024-11-22T14:32:30.975" v="2607" actId="6549"/>
          <ac:spMkLst>
            <pc:docMk/>
            <pc:sldMk cId="4019616937" sldId="2592"/>
            <ac:spMk id="17" creationId="{EA969FD7-EC7F-C164-23B3-448082DFC332}"/>
          </ac:spMkLst>
        </pc:spChg>
        <pc:spChg chg="del">
          <ac:chgData name="Alexandre Fettermann Coutinho" userId="ba535c39-4054-42b2-abac-b5d0a4c19ecc" providerId="ADAL" clId="{9D18203E-ABB4-4205-BD02-C87CB632F49D}" dt="2024-11-22T14:29:40.504" v="2568" actId="478"/>
          <ac:spMkLst>
            <pc:docMk/>
            <pc:sldMk cId="4019616937" sldId="2592"/>
            <ac:spMk id="24" creationId="{5B20B368-AB72-1DCD-C8A0-77FC1A4ACFEA}"/>
          </ac:spMkLst>
        </pc:spChg>
        <pc:graphicFrameChg chg="mod">
          <ac:chgData name="Alexandre Fettermann Coutinho" userId="ba535c39-4054-42b2-abac-b5d0a4c19ecc" providerId="ADAL" clId="{9D18203E-ABB4-4205-BD02-C87CB632F49D}" dt="2024-11-22T14:28:13.665" v="2557"/>
          <ac:graphicFrameMkLst>
            <pc:docMk/>
            <pc:sldMk cId="4019616937" sldId="2592"/>
            <ac:graphicFrameMk id="6" creationId="{E7B0F964-FA36-D582-5858-D02AC3D57C32}"/>
          </ac:graphicFrameMkLst>
        </pc:graphicFrameChg>
        <pc:picChg chg="add mod">
          <ac:chgData name="Alexandre Fettermann Coutinho" userId="ba535c39-4054-42b2-abac-b5d0a4c19ecc" providerId="ADAL" clId="{9D18203E-ABB4-4205-BD02-C87CB632F49D}" dt="2024-11-22T14:29:49.059" v="2571" actId="1076"/>
          <ac:picMkLst>
            <pc:docMk/>
            <pc:sldMk cId="4019616937" sldId="2592"/>
            <ac:picMk id="16" creationId="{0095618B-6896-9759-ED2A-3D8C577A1EAF}"/>
          </ac:picMkLst>
        </pc:picChg>
        <pc:picChg chg="del">
          <ac:chgData name="Alexandre Fettermann Coutinho" userId="ba535c39-4054-42b2-abac-b5d0a4c19ecc" providerId="ADAL" clId="{9D18203E-ABB4-4205-BD02-C87CB632F49D}" dt="2024-11-22T14:26:54.145" v="2340" actId="478"/>
          <ac:picMkLst>
            <pc:docMk/>
            <pc:sldMk cId="4019616937" sldId="2592"/>
            <ac:picMk id="2052" creationId="{55A40C05-58B5-2104-3F95-C8211ADDF0BA}"/>
          </ac:picMkLst>
        </pc:picChg>
      </pc:sldChg>
      <pc:sldChg chg="addSp delSp modSp add mod setBg chgLayout">
        <pc:chgData name="Alexandre Fettermann Coutinho" userId="ba535c39-4054-42b2-abac-b5d0a4c19ecc" providerId="ADAL" clId="{9D18203E-ABB4-4205-BD02-C87CB632F49D}" dt="2024-11-22T14:48:28.440" v="3083" actId="122"/>
        <pc:sldMkLst>
          <pc:docMk/>
          <pc:sldMk cId="4088378474" sldId="2593"/>
        </pc:sldMkLst>
        <pc:spChg chg="del mod">
          <ac:chgData name="Alexandre Fettermann Coutinho" userId="ba535c39-4054-42b2-abac-b5d0a4c19ecc" providerId="ADAL" clId="{9D18203E-ABB4-4205-BD02-C87CB632F49D}" dt="2024-11-22T14:33:53.372" v="2691" actId="6264"/>
          <ac:spMkLst>
            <pc:docMk/>
            <pc:sldMk cId="4088378474" sldId="2593"/>
            <ac:spMk id="2" creationId="{72EE213D-FA4A-5CE8-E6AC-8178B39B01E1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32:55.725" v="2642"/>
          <ac:spMkLst>
            <pc:docMk/>
            <pc:sldMk cId="4088378474" sldId="2593"/>
            <ac:spMk id="3" creationId="{689AA714-F3FF-4B7E-0109-E2181C2D890E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32:56.842" v="2669"/>
          <ac:spMkLst>
            <pc:docMk/>
            <pc:sldMk cId="4088378474" sldId="2593"/>
            <ac:spMk id="4" creationId="{931DA784-744A-D571-1C71-006FE2FF1F48}"/>
          </ac:spMkLst>
        </pc:spChg>
        <pc:spChg chg="del">
          <ac:chgData name="Alexandre Fettermann Coutinho" userId="ba535c39-4054-42b2-abac-b5d0a4c19ecc" providerId="ADAL" clId="{9D18203E-ABB4-4205-BD02-C87CB632F49D}" dt="2024-11-22T14:33:07.964" v="2685" actId="478"/>
          <ac:spMkLst>
            <pc:docMk/>
            <pc:sldMk cId="4088378474" sldId="2593"/>
            <ac:spMk id="5" creationId="{DDFF3F10-5352-6062-D105-5F7B602D9D9F}"/>
          </ac:spMkLst>
        </pc:spChg>
        <pc:spChg chg="add del mod">
          <ac:chgData name="Alexandre Fettermann Coutinho" userId="ba535c39-4054-42b2-abac-b5d0a4c19ecc" providerId="ADAL" clId="{9D18203E-ABB4-4205-BD02-C87CB632F49D}" dt="2024-11-22T14:33:21.337" v="2686" actId="931"/>
          <ac:spMkLst>
            <pc:docMk/>
            <pc:sldMk cId="4088378474" sldId="2593"/>
            <ac:spMk id="8" creationId="{18B7AE98-B2B9-BE0A-4AD2-3778F1F5407B}"/>
          </ac:spMkLst>
        </pc:spChg>
        <pc:spChg chg="add del mod">
          <ac:chgData name="Alexandre Fettermann Coutinho" userId="ba535c39-4054-42b2-abac-b5d0a4c19ecc" providerId="ADAL" clId="{9D18203E-ABB4-4205-BD02-C87CB632F49D}" dt="2024-11-22T14:33:53.372" v="2691" actId="6264"/>
          <ac:spMkLst>
            <pc:docMk/>
            <pc:sldMk cId="4088378474" sldId="2593"/>
            <ac:spMk id="10" creationId="{E555A33F-2DD0-7F05-0368-962E46905829}"/>
          </ac:spMkLst>
        </pc:spChg>
        <pc:spChg chg="add del mod">
          <ac:chgData name="Alexandre Fettermann Coutinho" userId="ba535c39-4054-42b2-abac-b5d0a4c19ecc" providerId="ADAL" clId="{9D18203E-ABB4-4205-BD02-C87CB632F49D}" dt="2024-11-22T14:33:53.372" v="2691" actId="6264"/>
          <ac:spMkLst>
            <pc:docMk/>
            <pc:sldMk cId="4088378474" sldId="2593"/>
            <ac:spMk id="14" creationId="{1FE696D1-C314-BEB0-9D1D-E295421AA688}"/>
          </ac:spMkLst>
        </pc:spChg>
        <pc:spChg chg="add mod ord">
          <ac:chgData name="Alexandre Fettermann Coutinho" userId="ba535c39-4054-42b2-abac-b5d0a4c19ecc" providerId="ADAL" clId="{9D18203E-ABB4-4205-BD02-C87CB632F49D}" dt="2024-11-22T14:39:40.085" v="2921" actId="948"/>
          <ac:spMkLst>
            <pc:docMk/>
            <pc:sldMk cId="4088378474" sldId="2593"/>
            <ac:spMk id="15" creationId="{B644DA37-86D0-2921-1E5C-2588FF094A6F}"/>
          </ac:spMkLst>
        </pc:spChg>
        <pc:spChg chg="mod">
          <ac:chgData name="Alexandre Fettermann Coutinho" userId="ba535c39-4054-42b2-abac-b5d0a4c19ecc" providerId="ADAL" clId="{9D18203E-ABB4-4205-BD02-C87CB632F49D}" dt="2024-11-22T14:42:05.493" v="2964" actId="20577"/>
          <ac:spMkLst>
            <pc:docMk/>
            <pc:sldMk cId="4088378474" sldId="2593"/>
            <ac:spMk id="17" creationId="{EA969FD7-EC7F-C164-23B3-448082DFC332}"/>
          </ac:spMkLst>
        </pc:spChg>
        <pc:spChg chg="add del mod ord">
          <ac:chgData name="Alexandre Fettermann Coutinho" userId="ba535c39-4054-42b2-abac-b5d0a4c19ecc" providerId="ADAL" clId="{9D18203E-ABB4-4205-BD02-C87CB632F49D}" dt="2024-11-22T14:34:13.745" v="2696" actId="931"/>
          <ac:spMkLst>
            <pc:docMk/>
            <pc:sldMk cId="4088378474" sldId="2593"/>
            <ac:spMk id="18" creationId="{EE8DBE93-E42B-28FD-73AF-D62A2080C849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36:42.655" v="2747"/>
          <ac:spMkLst>
            <pc:docMk/>
            <pc:sldMk cId="4088378474" sldId="2593"/>
            <ac:spMk id="21" creationId="{CB9E16B1-7844-E620-6C9A-B7B01B89AC8B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36:43.551" v="2776"/>
          <ac:spMkLst>
            <pc:docMk/>
            <pc:sldMk cId="4088378474" sldId="2593"/>
            <ac:spMk id="22" creationId="{AC73D98A-6B85-9D0C-4548-71365A8F9639}"/>
          </ac:spMkLst>
        </pc:spChg>
        <pc:spChg chg="mod">
          <ac:chgData name="Alexandre Fettermann Coutinho" userId="ba535c39-4054-42b2-abac-b5d0a4c19ecc" providerId="ADAL" clId="{9D18203E-ABB4-4205-BD02-C87CB632F49D}" dt="2024-11-22T14:44:29.912" v="2977" actId="207"/>
          <ac:spMkLst>
            <pc:docMk/>
            <pc:sldMk cId="4088378474" sldId="2593"/>
            <ac:spMk id="23" creationId="{1E0F945A-935A-A45A-F986-C17B5B14A54B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36:45.716" v="2811"/>
          <ac:spMkLst>
            <pc:docMk/>
            <pc:sldMk cId="4088378474" sldId="2593"/>
            <ac:spMk id="24" creationId="{A7BE7729-11DE-9296-2BAC-7F1149F66C74}"/>
          </ac:spMkLst>
        </pc:spChg>
        <pc:spChg chg="add mod">
          <ac:chgData name="Alexandre Fettermann Coutinho" userId="ba535c39-4054-42b2-abac-b5d0a4c19ecc" providerId="ADAL" clId="{9D18203E-ABB4-4205-BD02-C87CB632F49D}" dt="2024-11-22T14:48:16.956" v="3080" actId="207"/>
          <ac:spMkLst>
            <pc:docMk/>
            <pc:sldMk cId="4088378474" sldId="2593"/>
            <ac:spMk id="26" creationId="{9E519457-11B8-83CC-1158-7A9B61A94109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39:31.956" v="2841"/>
          <ac:spMkLst>
            <pc:docMk/>
            <pc:sldMk cId="4088378474" sldId="2593"/>
            <ac:spMk id="27" creationId="{77C38D38-0101-63AE-B5B8-B6BF005042E6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39:34.478" v="2869"/>
          <ac:spMkLst>
            <pc:docMk/>
            <pc:sldMk cId="4088378474" sldId="2593"/>
            <ac:spMk id="28" creationId="{385C94CD-92CC-BBC4-DC1D-B6FF6908BF76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39:37.645" v="2906"/>
          <ac:spMkLst>
            <pc:docMk/>
            <pc:sldMk cId="4088378474" sldId="2593"/>
            <ac:spMk id="29" creationId="{5D15EF48-7EF4-0269-F003-4D2B62C2647F}"/>
          </ac:spMkLst>
        </pc:spChg>
        <pc:spChg chg="add del mod modVis">
          <ac:chgData name="Alexandre Fettermann Coutinho" userId="ba535c39-4054-42b2-abac-b5d0a4c19ecc" providerId="ADAL" clId="{9D18203E-ABB4-4205-BD02-C87CB632F49D}" dt="2024-11-22T14:39:40.105" v="2943"/>
          <ac:spMkLst>
            <pc:docMk/>
            <pc:sldMk cId="4088378474" sldId="2593"/>
            <ac:spMk id="30" creationId="{65191675-6AB2-6265-F571-936B23A0D890}"/>
          </ac:spMkLst>
        </pc:spChg>
        <pc:spChg chg="add mod">
          <ac:chgData name="Alexandre Fettermann Coutinho" userId="ba535c39-4054-42b2-abac-b5d0a4c19ecc" providerId="ADAL" clId="{9D18203E-ABB4-4205-BD02-C87CB632F49D}" dt="2024-11-22T14:48:28.440" v="3083" actId="122"/>
          <ac:spMkLst>
            <pc:docMk/>
            <pc:sldMk cId="4088378474" sldId="2593"/>
            <ac:spMk id="32" creationId="{0975D717-8CBB-3982-6068-B69C6114F2CF}"/>
          </ac:spMkLst>
        </pc:spChg>
        <pc:graphicFrameChg chg="mod">
          <ac:chgData name="Alexandre Fettermann Coutinho" userId="ba535c39-4054-42b2-abac-b5d0a4c19ecc" providerId="ADAL" clId="{9D18203E-ABB4-4205-BD02-C87CB632F49D}" dt="2024-11-22T14:39:40.107" v="2945"/>
          <ac:graphicFrameMkLst>
            <pc:docMk/>
            <pc:sldMk cId="4088378474" sldId="2593"/>
            <ac:graphicFrameMk id="6" creationId="{E7B0F964-FA36-D582-5858-D02AC3D57C32}"/>
          </ac:graphicFrameMkLst>
        </pc:graphicFrameChg>
        <pc:picChg chg="add mod ord">
          <ac:chgData name="Alexandre Fettermann Coutinho" userId="ba535c39-4054-42b2-abac-b5d0a4c19ecc" providerId="ADAL" clId="{9D18203E-ABB4-4205-BD02-C87CB632F49D}" dt="2024-11-22T14:45:09.750" v="2979" actId="1076"/>
          <ac:picMkLst>
            <pc:docMk/>
            <pc:sldMk cId="4088378474" sldId="2593"/>
            <ac:picMk id="12" creationId="{6FB0EF47-A7A9-4167-CA5A-8B88DB337399}"/>
          </ac:picMkLst>
        </pc:picChg>
        <pc:picChg chg="add del mod ord">
          <ac:chgData name="Alexandre Fettermann Coutinho" userId="ba535c39-4054-42b2-abac-b5d0a4c19ecc" providerId="ADAL" clId="{9D18203E-ABB4-4205-BD02-C87CB632F49D}" dt="2024-11-22T14:33:32.057" v="2690" actId="34307"/>
          <ac:picMkLst>
            <pc:docMk/>
            <pc:sldMk cId="4088378474" sldId="2593"/>
            <ac:picMk id="13" creationId="{49455CBF-407D-B5B1-CD1D-BD5F50A901E3}"/>
          </ac:picMkLst>
        </pc:picChg>
        <pc:picChg chg="del">
          <ac:chgData name="Alexandre Fettermann Coutinho" userId="ba535c39-4054-42b2-abac-b5d0a4c19ecc" providerId="ADAL" clId="{9D18203E-ABB4-4205-BD02-C87CB632F49D}" dt="2024-11-22T14:33:05.498" v="2684" actId="478"/>
          <ac:picMkLst>
            <pc:docMk/>
            <pc:sldMk cId="4088378474" sldId="2593"/>
            <ac:picMk id="16" creationId="{0095618B-6896-9759-ED2A-3D8C577A1EAF}"/>
          </ac:picMkLst>
        </pc:picChg>
        <pc:picChg chg="add mod">
          <ac:chgData name="Alexandre Fettermann Coutinho" userId="ba535c39-4054-42b2-abac-b5d0a4c19ecc" providerId="ADAL" clId="{9D18203E-ABB4-4205-BD02-C87CB632F49D}" dt="2024-11-22T14:45:09.750" v="2979" actId="1076"/>
          <ac:picMkLst>
            <pc:docMk/>
            <pc:sldMk cId="4088378474" sldId="2593"/>
            <ac:picMk id="20" creationId="{C21DC03D-561D-BB26-2FCA-E5A7D335B13D}"/>
          </ac:picMkLst>
        </pc:picChg>
      </pc:sldChg>
      <pc:sldChg chg="addSp delSp modSp add mod setBg delAnim modAnim delDesignElem">
        <pc:chgData name="Alexandre Fettermann Coutinho" userId="ba535c39-4054-42b2-abac-b5d0a4c19ecc" providerId="ADAL" clId="{9D18203E-ABB4-4205-BD02-C87CB632F49D}" dt="2024-11-22T19:14:03.760" v="9835" actId="6549"/>
        <pc:sldMkLst>
          <pc:docMk/>
          <pc:sldMk cId="3315556142" sldId="2594"/>
        </pc:sldMkLst>
        <pc:spChg chg="mod">
          <ac:chgData name="Alexandre Fettermann Coutinho" userId="ba535c39-4054-42b2-abac-b5d0a4c19ecc" providerId="ADAL" clId="{9D18203E-ABB4-4205-BD02-C87CB632F49D}" dt="2024-11-22T18:32:06.898" v="8566" actId="948"/>
          <ac:spMkLst>
            <pc:docMk/>
            <pc:sldMk cId="3315556142" sldId="2594"/>
            <ac:spMk id="2" creationId="{A521BCDC-1259-C4FD-2ABF-DE9F75D18DB1}"/>
          </ac:spMkLst>
        </pc:spChg>
        <pc:spChg chg="del">
          <ac:chgData name="Alexandre Fettermann Coutinho" userId="ba535c39-4054-42b2-abac-b5d0a4c19ecc" providerId="ADAL" clId="{9D18203E-ABB4-4205-BD02-C87CB632F49D}" dt="2024-11-22T16:19:36.828" v="4409" actId="478"/>
          <ac:spMkLst>
            <pc:docMk/>
            <pc:sldMk cId="3315556142" sldId="2594"/>
            <ac:spMk id="4" creationId="{D6B8B947-C9A6-3FF5-9514-4F999AD60935}"/>
          </ac:spMkLst>
        </pc:spChg>
        <pc:spChg chg="add del mod">
          <ac:chgData name="Alexandre Fettermann Coutinho" userId="ba535c39-4054-42b2-abac-b5d0a4c19ecc" providerId="ADAL" clId="{9D18203E-ABB4-4205-BD02-C87CB632F49D}" dt="2024-11-22T16:19:32.988" v="4408" actId="478"/>
          <ac:spMkLst>
            <pc:docMk/>
            <pc:sldMk cId="3315556142" sldId="2594"/>
            <ac:spMk id="6" creationId="{FB915033-6452-99D6-75D6-FE4AA9521C24}"/>
          </ac:spMkLst>
        </pc:spChg>
        <pc:spChg chg="add del mod">
          <ac:chgData name="Alexandre Fettermann Coutinho" userId="ba535c39-4054-42b2-abac-b5d0a4c19ecc" providerId="ADAL" clId="{9D18203E-ABB4-4205-BD02-C87CB632F49D}" dt="2024-11-22T16:19:39.678" v="4410" actId="478"/>
          <ac:spMkLst>
            <pc:docMk/>
            <pc:sldMk cId="3315556142" sldId="2594"/>
            <ac:spMk id="11" creationId="{1B933DBE-CAF1-2A8D-8CF2-4BB728427022}"/>
          </ac:spMkLst>
        </pc:spChg>
        <pc:spChg chg="add mod">
          <ac:chgData name="Alexandre Fettermann Coutinho" userId="ba535c39-4054-42b2-abac-b5d0a4c19ecc" providerId="ADAL" clId="{9D18203E-ABB4-4205-BD02-C87CB632F49D}" dt="2024-11-22T19:14:03.760" v="9835" actId="6549"/>
          <ac:spMkLst>
            <pc:docMk/>
            <pc:sldMk cId="3315556142" sldId="2594"/>
            <ac:spMk id="13" creationId="{00CE7DF2-219B-4702-9385-B6A87537169C}"/>
          </ac:spMkLst>
        </pc:spChg>
        <pc:spChg chg="del">
          <ac:chgData name="Alexandre Fettermann Coutinho" userId="ba535c39-4054-42b2-abac-b5d0a4c19ecc" providerId="ADAL" clId="{9D18203E-ABB4-4205-BD02-C87CB632F49D}" dt="2024-11-22T16:15:10.487" v="4343"/>
          <ac:spMkLst>
            <pc:docMk/>
            <pc:sldMk cId="3315556142" sldId="2594"/>
            <ac:spMk id="14" creationId="{E49D7415-2F11-44C2-B6AA-13A25B6814B9}"/>
          </ac:spMkLst>
        </pc:spChg>
        <pc:spChg chg="add mod">
          <ac:chgData name="Alexandre Fettermann Coutinho" userId="ba535c39-4054-42b2-abac-b5d0a4c19ecc" providerId="ADAL" clId="{9D18203E-ABB4-4205-BD02-C87CB632F49D}" dt="2024-11-22T16:36:09.133" v="4648"/>
          <ac:spMkLst>
            <pc:docMk/>
            <pc:sldMk cId="3315556142" sldId="2594"/>
            <ac:spMk id="15" creationId="{84F33809-AA35-1E0C-F92C-D173FF74AE16}"/>
          </ac:spMkLst>
        </pc:spChg>
        <pc:spChg chg="add del mod modVis">
          <ac:chgData name="Alexandre Fettermann Coutinho" userId="ba535c39-4054-42b2-abac-b5d0a4c19ecc" providerId="ADAL" clId="{9D18203E-ABB4-4205-BD02-C87CB632F49D}" dt="2024-11-22T16:37:48.689" v="4691"/>
          <ac:spMkLst>
            <pc:docMk/>
            <pc:sldMk cId="3315556142" sldId="2594"/>
            <ac:spMk id="20" creationId="{5E4EF6CE-4F01-E29F-9A1A-21B14FBE41F0}"/>
          </ac:spMkLst>
        </pc:spChg>
        <pc:spChg chg="add del mod">
          <ac:chgData name="Alexandre Fettermann Coutinho" userId="ba535c39-4054-42b2-abac-b5d0a4c19ecc" providerId="ADAL" clId="{9D18203E-ABB4-4205-BD02-C87CB632F49D}" dt="2024-11-22T16:43:14.101" v="4878" actId="478"/>
          <ac:spMkLst>
            <pc:docMk/>
            <pc:sldMk cId="3315556142" sldId="2594"/>
            <ac:spMk id="27" creationId="{B40845DB-5DE2-15D6-A671-1C2CFAF6E6B4}"/>
          </ac:spMkLst>
        </pc:spChg>
        <pc:spChg chg="add del mod modVis">
          <ac:chgData name="Alexandre Fettermann Coutinho" userId="ba535c39-4054-42b2-abac-b5d0a4c19ecc" providerId="ADAL" clId="{9D18203E-ABB4-4205-BD02-C87CB632F49D}" dt="2024-11-22T16:46:07.541" v="5135"/>
          <ac:spMkLst>
            <pc:docMk/>
            <pc:sldMk cId="3315556142" sldId="2594"/>
            <ac:spMk id="28" creationId="{01E0B4F4-0A15-A7DA-9184-408157E7A8CA}"/>
          </ac:spMkLst>
        </pc:spChg>
        <pc:spChg chg="add del mod modVis">
          <ac:chgData name="Alexandre Fettermann Coutinho" userId="ba535c39-4054-42b2-abac-b5d0a4c19ecc" providerId="ADAL" clId="{9D18203E-ABB4-4205-BD02-C87CB632F49D}" dt="2024-11-22T18:32:06.914" v="8588"/>
          <ac:spMkLst>
            <pc:docMk/>
            <pc:sldMk cId="3315556142" sldId="2594"/>
            <ac:spMk id="29" creationId="{85BCEA5A-FCE8-AC32-5AE6-369D328AD15E}"/>
          </ac:spMkLst>
        </pc:spChg>
        <pc:graphicFrameChg chg="add mod ord modVis">
          <ac:chgData name="Alexandre Fettermann Coutinho" userId="ba535c39-4054-42b2-abac-b5d0a4c19ecc" providerId="ADAL" clId="{9D18203E-ABB4-4205-BD02-C87CB632F49D}" dt="2024-11-22T18:32:06.914" v="8590"/>
          <ac:graphicFrameMkLst>
            <pc:docMk/>
            <pc:sldMk cId="3315556142" sldId="2594"/>
            <ac:graphicFrameMk id="8" creationId="{8114B09B-3DED-BC62-1FFF-D29DE7D2102F}"/>
          </ac:graphicFrameMkLst>
        </pc:graphicFrameChg>
        <pc:picChg chg="del">
          <ac:chgData name="Alexandre Fettermann Coutinho" userId="ba535c39-4054-42b2-abac-b5d0a4c19ecc" providerId="ADAL" clId="{9D18203E-ABB4-4205-BD02-C87CB632F49D}" dt="2024-11-22T16:15:15.372" v="4345" actId="478"/>
          <ac:picMkLst>
            <pc:docMk/>
            <pc:sldMk cId="3315556142" sldId="2594"/>
            <ac:picMk id="5" creationId="{BCC14380-9352-4AD2-9D88-FEF2C7E39EE5}"/>
          </ac:picMkLst>
        </pc:picChg>
        <pc:picChg chg="add del mod">
          <ac:chgData name="Alexandre Fettermann Coutinho" userId="ba535c39-4054-42b2-abac-b5d0a4c19ecc" providerId="ADAL" clId="{9D18203E-ABB4-4205-BD02-C87CB632F49D}" dt="2024-11-22T16:19:29.659" v="4407" actId="478"/>
          <ac:picMkLst>
            <pc:docMk/>
            <pc:sldMk cId="3315556142" sldId="2594"/>
            <ac:picMk id="7" creationId="{934A1857-5BCF-4122-AFB6-C1586260FD0C}"/>
          </ac:picMkLst>
        </pc:picChg>
        <pc:picChg chg="add del mod">
          <ac:chgData name="Alexandre Fettermann Coutinho" userId="ba535c39-4054-42b2-abac-b5d0a4c19ecc" providerId="ADAL" clId="{9D18203E-ABB4-4205-BD02-C87CB632F49D}" dt="2024-11-22T16:40:47.280" v="4864" actId="478"/>
          <ac:picMkLst>
            <pc:docMk/>
            <pc:sldMk cId="3315556142" sldId="2594"/>
            <ac:picMk id="19" creationId="{F3C49CAF-9C0D-9A30-E777-5B8427BA2DE9}"/>
          </ac:picMkLst>
        </pc:picChg>
        <pc:picChg chg="add del mod">
          <ac:chgData name="Alexandre Fettermann Coutinho" userId="ba535c39-4054-42b2-abac-b5d0a4c19ecc" providerId="ADAL" clId="{9D18203E-ABB4-4205-BD02-C87CB632F49D}" dt="2024-11-22T16:38:05.183" v="4701" actId="478"/>
          <ac:picMkLst>
            <pc:docMk/>
            <pc:sldMk cId="3315556142" sldId="2594"/>
            <ac:picMk id="22" creationId="{04522F38-A68B-EEF2-51F9-8EE8EF4422C9}"/>
          </ac:picMkLst>
        </pc:picChg>
        <pc:picChg chg="add mod">
          <ac:chgData name="Alexandre Fettermann Coutinho" userId="ba535c39-4054-42b2-abac-b5d0a4c19ecc" providerId="ADAL" clId="{9D18203E-ABB4-4205-BD02-C87CB632F49D}" dt="2024-11-22T16:44:54.301" v="5059" actId="1076"/>
          <ac:picMkLst>
            <pc:docMk/>
            <pc:sldMk cId="3315556142" sldId="2594"/>
            <ac:picMk id="24" creationId="{233FE6D4-6B76-30B0-BA35-882A9C73BCB9}"/>
          </ac:picMkLst>
        </pc:picChg>
        <pc:picChg chg="add mod">
          <ac:chgData name="Alexandre Fettermann Coutinho" userId="ba535c39-4054-42b2-abac-b5d0a4c19ecc" providerId="ADAL" clId="{9D18203E-ABB4-4205-BD02-C87CB632F49D}" dt="2024-11-22T16:43:16.794" v="4879" actId="1076"/>
          <ac:picMkLst>
            <pc:docMk/>
            <pc:sldMk cId="3315556142" sldId="2594"/>
            <ac:picMk id="26" creationId="{9F28A3D0-E57B-1910-25CE-A6E98CA8BD7E}"/>
          </ac:picMkLst>
        </pc:picChg>
        <pc:cxnChg chg="del">
          <ac:chgData name="Alexandre Fettermann Coutinho" userId="ba535c39-4054-42b2-abac-b5d0a4c19ecc" providerId="ADAL" clId="{9D18203E-ABB4-4205-BD02-C87CB632F49D}" dt="2024-11-22T16:15:10.487" v="4343"/>
          <ac:cxnSpMkLst>
            <pc:docMk/>
            <pc:sldMk cId="3315556142" sldId="2594"/>
            <ac:cxnSpMk id="10" creationId="{F64F9B95-9045-48D2-B9F3-2927E98F54AA}"/>
          </ac:cxnSpMkLst>
        </pc:cxnChg>
        <pc:cxnChg chg="del">
          <ac:chgData name="Alexandre Fettermann Coutinho" userId="ba535c39-4054-42b2-abac-b5d0a4c19ecc" providerId="ADAL" clId="{9D18203E-ABB4-4205-BD02-C87CB632F49D}" dt="2024-11-22T16:15:10.487" v="4343"/>
          <ac:cxnSpMkLst>
            <pc:docMk/>
            <pc:sldMk cId="3315556142" sldId="2594"/>
            <ac:cxnSpMk id="12" creationId="{085AA86F-6A4D-4BCB-A045-D992CDC2959B}"/>
          </ac:cxnSpMkLst>
        </pc:cxnChg>
        <pc:cxnChg chg="del">
          <ac:chgData name="Alexandre Fettermann Coutinho" userId="ba535c39-4054-42b2-abac-b5d0a4c19ecc" providerId="ADAL" clId="{9D18203E-ABB4-4205-BD02-C87CB632F49D}" dt="2024-11-22T16:15:10.487" v="4343"/>
          <ac:cxnSpMkLst>
            <pc:docMk/>
            <pc:sldMk cId="3315556142" sldId="2594"/>
            <ac:cxnSpMk id="16" creationId="{511FC409-B3C2-4F68-865C-C5333D6F2710}"/>
          </ac:cxnSpMkLst>
        </pc:cxnChg>
        <pc:cxnChg chg="del">
          <ac:chgData name="Alexandre Fettermann Coutinho" userId="ba535c39-4054-42b2-abac-b5d0a4c19ecc" providerId="ADAL" clId="{9D18203E-ABB4-4205-BD02-C87CB632F49D}" dt="2024-11-22T16:15:10.487" v="4343"/>
          <ac:cxnSpMkLst>
            <pc:docMk/>
            <pc:sldMk cId="3315556142" sldId="2594"/>
            <ac:cxnSpMk id="18" creationId="{B810270D-76A7-44B3-9746-7EDF5788602E}"/>
          </ac:cxnSpMkLst>
        </pc:cxnChg>
      </pc:sldChg>
      <pc:sldChg chg="addSp delSp modSp add del mod setBg delDesignElem">
        <pc:chgData name="Alexandre Fettermann Coutinho" userId="ba535c39-4054-42b2-abac-b5d0a4c19ecc" providerId="ADAL" clId="{9D18203E-ABB4-4205-BD02-C87CB632F49D}" dt="2024-11-22T16:14:28.546" v="4313" actId="47"/>
        <pc:sldMkLst>
          <pc:docMk/>
          <pc:sldMk cId="4262770417" sldId="2594"/>
        </pc:sldMkLst>
        <pc:spChg chg="mod">
          <ac:chgData name="Alexandre Fettermann Coutinho" userId="ba535c39-4054-42b2-abac-b5d0a4c19ecc" providerId="ADAL" clId="{9D18203E-ABB4-4205-BD02-C87CB632F49D}" dt="2024-11-22T16:14:18.924" v="4310" actId="948"/>
          <ac:spMkLst>
            <pc:docMk/>
            <pc:sldMk cId="4262770417" sldId="2594"/>
            <ac:spMk id="2" creationId="{9CF30DF0-B300-1E31-95FA-EF5D76BD5B62}"/>
          </ac:spMkLst>
        </pc:spChg>
        <pc:spChg chg="add del mod modVis">
          <ac:chgData name="Alexandre Fettermann Coutinho" userId="ba535c39-4054-42b2-abac-b5d0a4c19ecc" providerId="ADAL" clId="{9D18203E-ABB4-4205-BD02-C87CB632F49D}" dt="2024-11-22T16:14:12.770" v="4274"/>
          <ac:spMkLst>
            <pc:docMk/>
            <pc:sldMk cId="4262770417" sldId="2594"/>
            <ac:spMk id="3" creationId="{237782C3-0972-4298-F61F-E45C156B2B5D}"/>
          </ac:spMkLst>
        </pc:spChg>
        <pc:spChg chg="add del mod modVis">
          <ac:chgData name="Alexandre Fettermann Coutinho" userId="ba535c39-4054-42b2-abac-b5d0a4c19ecc" providerId="ADAL" clId="{9D18203E-ABB4-4205-BD02-C87CB632F49D}" dt="2024-11-22T16:14:14.531" v="4306"/>
          <ac:spMkLst>
            <pc:docMk/>
            <pc:sldMk cId="4262770417" sldId="2594"/>
            <ac:spMk id="5" creationId="{DC9C4174-1638-D303-0E44-DF6EADD2A125}"/>
          </ac:spMkLst>
        </pc:spChg>
        <pc:spChg chg="del">
          <ac:chgData name="Alexandre Fettermann Coutinho" userId="ba535c39-4054-42b2-abac-b5d0a4c19ecc" providerId="ADAL" clId="{9D18203E-ABB4-4205-BD02-C87CB632F49D}" dt="2024-11-22T16:14:08.716" v="4250"/>
          <ac:spMkLst>
            <pc:docMk/>
            <pc:sldMk cId="4262770417" sldId="2594"/>
            <ac:spMk id="14" creationId="{660EB578-C970-4186-B93C-45851BBC6E34}"/>
          </ac:spMkLst>
        </pc:spChg>
        <pc:graphicFrameChg chg="mod">
          <ac:chgData name="Alexandre Fettermann Coutinho" userId="ba535c39-4054-42b2-abac-b5d0a4c19ecc" providerId="ADAL" clId="{9D18203E-ABB4-4205-BD02-C87CB632F49D}" dt="2024-11-22T16:14:18.924" v="4312"/>
          <ac:graphicFrameMkLst>
            <pc:docMk/>
            <pc:sldMk cId="4262770417" sldId="2594"/>
            <ac:graphicFrameMk id="8" creationId="{8E9D0853-1A3D-FA80-06F4-A6B56952F9D6}"/>
          </ac:graphicFrameMkLst>
        </pc:graphicFrameChg>
        <pc:cxnChg chg="del">
          <ac:chgData name="Alexandre Fettermann Coutinho" userId="ba535c39-4054-42b2-abac-b5d0a4c19ecc" providerId="ADAL" clId="{9D18203E-ABB4-4205-BD02-C87CB632F49D}" dt="2024-11-22T16:14:08.716" v="4250"/>
          <ac:cxnSpMkLst>
            <pc:docMk/>
            <pc:sldMk cId="4262770417" sldId="2594"/>
            <ac:cxnSpMk id="10" creationId="{F64F9B95-9045-48D2-B9F3-2927E98F54AA}"/>
          </ac:cxnSpMkLst>
        </pc:cxnChg>
        <pc:cxnChg chg="del">
          <ac:chgData name="Alexandre Fettermann Coutinho" userId="ba535c39-4054-42b2-abac-b5d0a4c19ecc" providerId="ADAL" clId="{9D18203E-ABB4-4205-BD02-C87CB632F49D}" dt="2024-11-22T16:14:08.716" v="4250"/>
          <ac:cxnSpMkLst>
            <pc:docMk/>
            <pc:sldMk cId="4262770417" sldId="2594"/>
            <ac:cxnSpMk id="12" creationId="{085AA86F-6A4D-4BCB-A045-D992CDC2959B}"/>
          </ac:cxnSpMkLst>
        </pc:cxnChg>
        <pc:cxnChg chg="del">
          <ac:chgData name="Alexandre Fettermann Coutinho" userId="ba535c39-4054-42b2-abac-b5d0a4c19ecc" providerId="ADAL" clId="{9D18203E-ABB4-4205-BD02-C87CB632F49D}" dt="2024-11-22T16:14:08.716" v="4250"/>
          <ac:cxnSpMkLst>
            <pc:docMk/>
            <pc:sldMk cId="4262770417" sldId="2594"/>
            <ac:cxnSpMk id="16" creationId="{CDF57B02-07BB-407B-BB36-06D9C64A673E}"/>
          </ac:cxnSpMkLst>
        </pc:cxnChg>
        <pc:cxnChg chg="del">
          <ac:chgData name="Alexandre Fettermann Coutinho" userId="ba535c39-4054-42b2-abac-b5d0a4c19ecc" providerId="ADAL" clId="{9D18203E-ABB4-4205-BD02-C87CB632F49D}" dt="2024-11-22T16:14:08.716" v="4250"/>
          <ac:cxnSpMkLst>
            <pc:docMk/>
            <pc:sldMk cId="4262770417" sldId="2594"/>
            <ac:cxnSpMk id="18" creationId="{C6855964-C920-48EB-8804-74291211C8A9}"/>
          </ac:cxnSpMkLst>
        </pc:cxnChg>
      </pc:sldChg>
      <pc:sldChg chg="addSp delSp modSp add mod setBg delDesignElem modShow">
        <pc:chgData name="Alexandre Fettermann Coutinho" userId="ba535c39-4054-42b2-abac-b5d0a4c19ecc" providerId="ADAL" clId="{9D18203E-ABB4-4205-BD02-C87CB632F49D}" dt="2024-11-22T17:36:52.290" v="5983" actId="729"/>
        <pc:sldMkLst>
          <pc:docMk/>
          <pc:sldMk cId="3509553383" sldId="2595"/>
        </pc:sldMkLst>
        <pc:spChg chg="mod">
          <ac:chgData name="Alexandre Fettermann Coutinho" userId="ba535c39-4054-42b2-abac-b5d0a4c19ecc" providerId="ADAL" clId="{9D18203E-ABB4-4205-BD02-C87CB632F49D}" dt="2024-11-22T16:46:40.622" v="5172" actId="948"/>
          <ac:spMkLst>
            <pc:docMk/>
            <pc:sldMk cId="3509553383" sldId="2595"/>
            <ac:spMk id="2" creationId="{6766A1B7-D07C-B910-EA0A-812655FCCB4A}"/>
          </ac:spMkLst>
        </pc:spChg>
        <pc:spChg chg="mod">
          <ac:chgData name="Alexandre Fettermann Coutinho" userId="ba535c39-4054-42b2-abac-b5d0a4c19ecc" providerId="ADAL" clId="{9D18203E-ABB4-4205-BD02-C87CB632F49D}" dt="2024-11-22T17:36:11.266" v="5982" actId="20577"/>
          <ac:spMkLst>
            <pc:docMk/>
            <pc:sldMk cId="3509553383" sldId="2595"/>
            <ac:spMk id="4" creationId="{61B17990-7DB0-F756-7DE7-23348D040D69}"/>
          </ac:spMkLst>
        </pc:spChg>
        <pc:spChg chg="add del mod modVis">
          <ac:chgData name="Alexandre Fettermann Coutinho" userId="ba535c39-4054-42b2-abac-b5d0a4c19ecc" providerId="ADAL" clId="{9D18203E-ABB4-4205-BD02-C87CB632F49D}" dt="2024-11-22T16:46:40.636" v="5194"/>
          <ac:spMkLst>
            <pc:docMk/>
            <pc:sldMk cId="3509553383" sldId="2595"/>
            <ac:spMk id="6" creationId="{5B7FB2A9-2312-8C93-7110-15F2E8DEF12D}"/>
          </ac:spMkLst>
        </pc:spChg>
        <pc:spChg chg="add del mod">
          <ac:chgData name="Alexandre Fettermann Coutinho" userId="ba535c39-4054-42b2-abac-b5d0a4c19ecc" providerId="ADAL" clId="{9D18203E-ABB4-4205-BD02-C87CB632F49D}" dt="2024-11-22T16:47:18.100" v="5260" actId="478"/>
          <ac:spMkLst>
            <pc:docMk/>
            <pc:sldMk cId="3509553383" sldId="2595"/>
            <ac:spMk id="8" creationId="{51EA87E9-51A8-AB0B-C9CA-075A186B9F73}"/>
          </ac:spMkLst>
        </pc:spChg>
        <pc:spChg chg="add mod">
          <ac:chgData name="Alexandre Fettermann Coutinho" userId="ba535c39-4054-42b2-abac-b5d0a4c19ecc" providerId="ADAL" clId="{9D18203E-ABB4-4205-BD02-C87CB632F49D}" dt="2024-11-22T17:28:21.778" v="5562" actId="20577"/>
          <ac:spMkLst>
            <pc:docMk/>
            <pc:sldMk cId="3509553383" sldId="2595"/>
            <ac:spMk id="13" creationId="{5765E5B9-FB77-45FF-1C46-B2BC98C72740}"/>
          </ac:spMkLst>
        </pc:spChg>
        <pc:spChg chg="del">
          <ac:chgData name="Alexandre Fettermann Coutinho" userId="ba535c39-4054-42b2-abac-b5d0a4c19ecc" providerId="ADAL" clId="{9D18203E-ABB4-4205-BD02-C87CB632F49D}" dt="2024-11-22T16:46:32.087" v="5140"/>
          <ac:spMkLst>
            <pc:docMk/>
            <pc:sldMk cId="3509553383" sldId="2595"/>
            <ac:spMk id="14" creationId="{E49D7415-2F11-44C2-B6AA-13A25B6814B9}"/>
          </ac:spMkLst>
        </pc:spChg>
        <pc:spChg chg="add mod">
          <ac:chgData name="Alexandre Fettermann Coutinho" userId="ba535c39-4054-42b2-abac-b5d0a4c19ecc" providerId="ADAL" clId="{9D18203E-ABB4-4205-BD02-C87CB632F49D}" dt="2024-11-22T17:33:08.373" v="5832" actId="20577"/>
          <ac:spMkLst>
            <pc:docMk/>
            <pc:sldMk cId="3509553383" sldId="2595"/>
            <ac:spMk id="21" creationId="{484A55B3-8C42-ED53-41E3-CD3CCDE63755}"/>
          </ac:spMkLst>
        </pc:spChg>
        <pc:graphicFrameChg chg="add mod ord modVis">
          <ac:chgData name="Alexandre Fettermann Coutinho" userId="ba535c39-4054-42b2-abac-b5d0a4c19ecc" providerId="ADAL" clId="{9D18203E-ABB4-4205-BD02-C87CB632F49D}" dt="2024-11-22T16:46:40.636" v="5196"/>
          <ac:graphicFrameMkLst>
            <pc:docMk/>
            <pc:sldMk cId="3509553383" sldId="2595"/>
            <ac:graphicFrameMk id="3" creationId="{1E5CB069-257A-5444-C57B-715C262F4871}"/>
          </ac:graphicFrameMkLst>
        </pc:graphicFrameChg>
        <pc:picChg chg="del">
          <ac:chgData name="Alexandre Fettermann Coutinho" userId="ba535c39-4054-42b2-abac-b5d0a4c19ecc" providerId="ADAL" clId="{9D18203E-ABB4-4205-BD02-C87CB632F49D}" dt="2024-11-22T16:47:13.240" v="5259" actId="478"/>
          <ac:picMkLst>
            <pc:docMk/>
            <pc:sldMk cId="3509553383" sldId="2595"/>
            <ac:picMk id="5" creationId="{5B584973-B9CE-43EF-8EEB-F93844EF53BF}"/>
          </ac:picMkLst>
        </pc:picChg>
        <pc:picChg chg="add mod">
          <ac:chgData name="Alexandre Fettermann Coutinho" userId="ba535c39-4054-42b2-abac-b5d0a4c19ecc" providerId="ADAL" clId="{9D18203E-ABB4-4205-BD02-C87CB632F49D}" dt="2024-11-22T17:25:19.186" v="5264" actId="14100"/>
          <ac:picMkLst>
            <pc:docMk/>
            <pc:sldMk cId="3509553383" sldId="2595"/>
            <ac:picMk id="11" creationId="{A4973786-7F05-A547-5615-837670C82472}"/>
          </ac:picMkLst>
        </pc:picChg>
        <pc:picChg chg="add del mod">
          <ac:chgData name="Alexandre Fettermann Coutinho" userId="ba535c39-4054-42b2-abac-b5d0a4c19ecc" providerId="ADAL" clId="{9D18203E-ABB4-4205-BD02-C87CB632F49D}" dt="2024-11-22T17:32:11.013" v="5701" actId="478"/>
          <ac:picMkLst>
            <pc:docMk/>
            <pc:sldMk cId="3509553383" sldId="2595"/>
            <ac:picMk id="17" creationId="{87DEFA83-249E-89EE-5635-EEA20C2095B4}"/>
          </ac:picMkLst>
        </pc:picChg>
        <pc:picChg chg="add mod">
          <ac:chgData name="Alexandre Fettermann Coutinho" userId="ba535c39-4054-42b2-abac-b5d0a4c19ecc" providerId="ADAL" clId="{9D18203E-ABB4-4205-BD02-C87CB632F49D}" dt="2024-11-22T17:32:18.443" v="5704" actId="1076"/>
          <ac:picMkLst>
            <pc:docMk/>
            <pc:sldMk cId="3509553383" sldId="2595"/>
            <ac:picMk id="20" creationId="{5FAFE799-C8AC-13BB-3574-09F9D5945B1F}"/>
          </ac:picMkLst>
        </pc:picChg>
        <pc:cxnChg chg="del">
          <ac:chgData name="Alexandre Fettermann Coutinho" userId="ba535c39-4054-42b2-abac-b5d0a4c19ecc" providerId="ADAL" clId="{9D18203E-ABB4-4205-BD02-C87CB632F49D}" dt="2024-11-22T16:46:32.087" v="5140"/>
          <ac:cxnSpMkLst>
            <pc:docMk/>
            <pc:sldMk cId="3509553383" sldId="2595"/>
            <ac:cxnSpMk id="10" creationId="{F64F9B95-9045-48D2-B9F3-2927E98F54AA}"/>
          </ac:cxnSpMkLst>
        </pc:cxnChg>
        <pc:cxnChg chg="del">
          <ac:chgData name="Alexandre Fettermann Coutinho" userId="ba535c39-4054-42b2-abac-b5d0a4c19ecc" providerId="ADAL" clId="{9D18203E-ABB4-4205-BD02-C87CB632F49D}" dt="2024-11-22T16:46:32.087" v="5140"/>
          <ac:cxnSpMkLst>
            <pc:docMk/>
            <pc:sldMk cId="3509553383" sldId="2595"/>
            <ac:cxnSpMk id="12" creationId="{085AA86F-6A4D-4BCB-A045-D992CDC2959B}"/>
          </ac:cxnSpMkLst>
        </pc:cxnChg>
        <pc:cxnChg chg="del">
          <ac:chgData name="Alexandre Fettermann Coutinho" userId="ba535c39-4054-42b2-abac-b5d0a4c19ecc" providerId="ADAL" clId="{9D18203E-ABB4-4205-BD02-C87CB632F49D}" dt="2024-11-22T16:46:32.087" v="5140"/>
          <ac:cxnSpMkLst>
            <pc:docMk/>
            <pc:sldMk cId="3509553383" sldId="2595"/>
            <ac:cxnSpMk id="16" creationId="{511FC409-B3C2-4F68-865C-C5333D6F2710}"/>
          </ac:cxnSpMkLst>
        </pc:cxnChg>
        <pc:cxnChg chg="del">
          <ac:chgData name="Alexandre Fettermann Coutinho" userId="ba535c39-4054-42b2-abac-b5d0a4c19ecc" providerId="ADAL" clId="{9D18203E-ABB4-4205-BD02-C87CB632F49D}" dt="2024-11-22T16:46:32.087" v="5140"/>
          <ac:cxnSpMkLst>
            <pc:docMk/>
            <pc:sldMk cId="3509553383" sldId="2595"/>
            <ac:cxnSpMk id="18" creationId="{B810270D-76A7-44B3-9746-7EDF5788602E}"/>
          </ac:cxnSpMkLst>
        </pc:cxnChg>
      </pc:sldChg>
      <pc:sldChg chg="addSp delSp modSp add mod">
        <pc:chgData name="Alexandre Fettermann Coutinho" userId="ba535c39-4054-42b2-abac-b5d0a4c19ecc" providerId="ADAL" clId="{9D18203E-ABB4-4205-BD02-C87CB632F49D}" dt="2024-11-22T17:58:27.352" v="6569" actId="20577"/>
        <pc:sldMkLst>
          <pc:docMk/>
          <pc:sldMk cId="2426894603" sldId="2596"/>
        </pc:sldMkLst>
        <pc:spChg chg="mod">
          <ac:chgData name="Alexandre Fettermann Coutinho" userId="ba535c39-4054-42b2-abac-b5d0a4c19ecc" providerId="ADAL" clId="{9D18203E-ABB4-4205-BD02-C87CB632F49D}" dt="2024-11-22T17:38:51.904" v="6055" actId="948"/>
          <ac:spMkLst>
            <pc:docMk/>
            <pc:sldMk cId="2426894603" sldId="2596"/>
            <ac:spMk id="2" creationId="{6766A1B7-D07C-B910-EA0A-812655FCCB4A}"/>
          </ac:spMkLst>
        </pc:spChg>
        <pc:spChg chg="mod">
          <ac:chgData name="Alexandre Fettermann Coutinho" userId="ba535c39-4054-42b2-abac-b5d0a4c19ecc" providerId="ADAL" clId="{9D18203E-ABB4-4205-BD02-C87CB632F49D}" dt="2024-11-22T17:58:27.352" v="6569" actId="20577"/>
          <ac:spMkLst>
            <pc:docMk/>
            <pc:sldMk cId="2426894603" sldId="2596"/>
            <ac:spMk id="4" creationId="{61B17990-7DB0-F756-7DE7-23348D040D69}"/>
          </ac:spMkLst>
        </pc:spChg>
        <pc:spChg chg="add del mod modVis">
          <ac:chgData name="Alexandre Fettermann Coutinho" userId="ba535c39-4054-42b2-abac-b5d0a4c19ecc" providerId="ADAL" clId="{9D18203E-ABB4-4205-BD02-C87CB632F49D}" dt="2024-11-22T17:37:24.773" v="6008"/>
          <ac:spMkLst>
            <pc:docMk/>
            <pc:sldMk cId="2426894603" sldId="2596"/>
            <ac:spMk id="5" creationId="{D1CBCD48-4636-4657-2CCE-1886D0637A89}"/>
          </ac:spMkLst>
        </pc:spChg>
        <pc:spChg chg="add del mod modVis">
          <ac:chgData name="Alexandre Fettermann Coutinho" userId="ba535c39-4054-42b2-abac-b5d0a4c19ecc" providerId="ADAL" clId="{9D18203E-ABB4-4205-BD02-C87CB632F49D}" dt="2024-11-22T17:38:07.637" v="6039"/>
          <ac:spMkLst>
            <pc:docMk/>
            <pc:sldMk cId="2426894603" sldId="2596"/>
            <ac:spMk id="6" creationId="{31458C71-7EA1-149F-496D-A6EF0504B500}"/>
          </ac:spMkLst>
        </pc:spChg>
        <pc:spChg chg="mod">
          <ac:chgData name="Alexandre Fettermann Coutinho" userId="ba535c39-4054-42b2-abac-b5d0a4c19ecc" providerId="ADAL" clId="{9D18203E-ABB4-4205-BD02-C87CB632F49D}" dt="2024-11-22T17:56:25.617" v="6265" actId="20577"/>
          <ac:spMkLst>
            <pc:docMk/>
            <pc:sldMk cId="2426894603" sldId="2596"/>
            <ac:spMk id="13" creationId="{5765E5B9-FB77-45FF-1C46-B2BC98C72740}"/>
          </ac:spMkLst>
        </pc:spChg>
        <pc:spChg chg="del">
          <ac:chgData name="Alexandre Fettermann Coutinho" userId="ba535c39-4054-42b2-abac-b5d0a4c19ecc" providerId="ADAL" clId="{9D18203E-ABB4-4205-BD02-C87CB632F49D}" dt="2024-11-22T17:38:12.494" v="6044" actId="478"/>
          <ac:spMkLst>
            <pc:docMk/>
            <pc:sldMk cId="2426894603" sldId="2596"/>
            <ac:spMk id="21" creationId="{484A55B3-8C42-ED53-41E3-CD3CCDE63755}"/>
          </ac:spMkLst>
        </pc:spChg>
        <pc:graphicFrameChg chg="mod">
          <ac:chgData name="Alexandre Fettermann Coutinho" userId="ba535c39-4054-42b2-abac-b5d0a4c19ecc" providerId="ADAL" clId="{9D18203E-ABB4-4205-BD02-C87CB632F49D}" dt="2024-11-22T17:38:51.912" v="6057"/>
          <ac:graphicFrameMkLst>
            <pc:docMk/>
            <pc:sldMk cId="2426894603" sldId="2596"/>
            <ac:graphicFrameMk id="3" creationId="{1E5CB069-257A-5444-C57B-715C262F4871}"/>
          </ac:graphicFrameMkLst>
        </pc:graphicFrameChg>
        <pc:picChg chg="add mod">
          <ac:chgData name="Alexandre Fettermann Coutinho" userId="ba535c39-4054-42b2-abac-b5d0a4c19ecc" providerId="ADAL" clId="{9D18203E-ABB4-4205-BD02-C87CB632F49D}" dt="2024-11-22T17:54:58.692" v="6125" actId="14100"/>
          <ac:picMkLst>
            <pc:docMk/>
            <pc:sldMk cId="2426894603" sldId="2596"/>
            <ac:picMk id="8" creationId="{CB6603D9-3AD2-C376-3D9A-A251354D7F4F}"/>
          </ac:picMkLst>
        </pc:picChg>
        <pc:picChg chg="del">
          <ac:chgData name="Alexandre Fettermann Coutinho" userId="ba535c39-4054-42b2-abac-b5d0a4c19ecc" providerId="ADAL" clId="{9D18203E-ABB4-4205-BD02-C87CB632F49D}" dt="2024-11-22T17:38:10.006" v="6042" actId="478"/>
          <ac:picMkLst>
            <pc:docMk/>
            <pc:sldMk cId="2426894603" sldId="2596"/>
            <ac:picMk id="11" creationId="{A4973786-7F05-A547-5615-837670C82472}"/>
          </ac:picMkLst>
        </pc:picChg>
        <pc:picChg chg="del">
          <ac:chgData name="Alexandre Fettermann Coutinho" userId="ba535c39-4054-42b2-abac-b5d0a4c19ecc" providerId="ADAL" clId="{9D18203E-ABB4-4205-BD02-C87CB632F49D}" dt="2024-11-22T17:38:10.610" v="6043" actId="478"/>
          <ac:picMkLst>
            <pc:docMk/>
            <pc:sldMk cId="2426894603" sldId="2596"/>
            <ac:picMk id="20" creationId="{5FAFE799-C8AC-13BB-3574-09F9D5945B1F}"/>
          </ac:picMkLst>
        </pc:picChg>
      </pc:sldChg>
      <pc:sldChg chg="addSp delSp modSp add mod modAnim">
        <pc:chgData name="Alexandre Fettermann Coutinho" userId="ba535c39-4054-42b2-abac-b5d0a4c19ecc" providerId="ADAL" clId="{9D18203E-ABB4-4205-BD02-C87CB632F49D}" dt="2024-11-22T18:31:54.226" v="8564" actId="20577"/>
        <pc:sldMkLst>
          <pc:docMk/>
          <pc:sldMk cId="401056042" sldId="2597"/>
        </pc:sldMkLst>
        <pc:spChg chg="mod">
          <ac:chgData name="Alexandre Fettermann Coutinho" userId="ba535c39-4054-42b2-abac-b5d0a4c19ecc" providerId="ADAL" clId="{9D18203E-ABB4-4205-BD02-C87CB632F49D}" dt="2024-11-22T18:23:45.203" v="8112" actId="948"/>
          <ac:spMkLst>
            <pc:docMk/>
            <pc:sldMk cId="401056042" sldId="2597"/>
            <ac:spMk id="2" creationId="{6766A1B7-D07C-B910-EA0A-812655FCCB4A}"/>
          </ac:spMkLst>
        </pc:spChg>
        <pc:spChg chg="mod">
          <ac:chgData name="Alexandre Fettermann Coutinho" userId="ba535c39-4054-42b2-abac-b5d0a4c19ecc" providerId="ADAL" clId="{9D18203E-ABB4-4205-BD02-C87CB632F49D}" dt="2024-11-22T18:31:54.226" v="8564" actId="20577"/>
          <ac:spMkLst>
            <pc:docMk/>
            <pc:sldMk cId="401056042" sldId="2597"/>
            <ac:spMk id="4" creationId="{61B17990-7DB0-F756-7DE7-23348D040D69}"/>
          </ac:spMkLst>
        </pc:spChg>
        <pc:spChg chg="add mod">
          <ac:chgData name="Alexandre Fettermann Coutinho" userId="ba535c39-4054-42b2-abac-b5d0a4c19ecc" providerId="ADAL" clId="{9D18203E-ABB4-4205-BD02-C87CB632F49D}" dt="2024-11-22T18:13:12.693" v="7354"/>
          <ac:spMkLst>
            <pc:docMk/>
            <pc:sldMk cId="401056042" sldId="2597"/>
            <ac:spMk id="7" creationId="{AF70BCD8-7C80-5748-E32A-F779B6621B74}"/>
          </ac:spMkLst>
        </pc:spChg>
        <pc:spChg chg="add del mod modVis">
          <ac:chgData name="Alexandre Fettermann Coutinho" userId="ba535c39-4054-42b2-abac-b5d0a4c19ecc" providerId="ADAL" clId="{9D18203E-ABB4-4205-BD02-C87CB632F49D}" dt="2024-11-22T18:23:38.321" v="8049"/>
          <ac:spMkLst>
            <pc:docMk/>
            <pc:sldMk cId="401056042" sldId="2597"/>
            <ac:spMk id="9" creationId="{39EF685A-4942-FEA2-1488-CB46770C0A5F}"/>
          </ac:spMkLst>
        </pc:spChg>
        <pc:spChg chg="add del mod modVis">
          <ac:chgData name="Alexandre Fettermann Coutinho" userId="ba535c39-4054-42b2-abac-b5d0a4c19ecc" providerId="ADAL" clId="{9D18203E-ABB4-4205-BD02-C87CB632F49D}" dt="2024-11-22T18:23:40.254" v="8082"/>
          <ac:spMkLst>
            <pc:docMk/>
            <pc:sldMk cId="401056042" sldId="2597"/>
            <ac:spMk id="10" creationId="{9712CC79-0FCA-1225-A462-F109A0DD9F02}"/>
          </ac:spMkLst>
        </pc:spChg>
        <pc:spChg chg="add del mod modVis">
          <ac:chgData name="Alexandre Fettermann Coutinho" userId="ba535c39-4054-42b2-abac-b5d0a4c19ecc" providerId="ADAL" clId="{9D18203E-ABB4-4205-BD02-C87CB632F49D}" dt="2024-11-22T18:23:43.228" v="8108"/>
          <ac:spMkLst>
            <pc:docMk/>
            <pc:sldMk cId="401056042" sldId="2597"/>
            <ac:spMk id="11" creationId="{C90711B6-6B9E-ECEC-F9BE-2641B5B58E54}"/>
          </ac:spMkLst>
        </pc:spChg>
        <pc:spChg chg="add del mod modVis">
          <ac:chgData name="Alexandre Fettermann Coutinho" userId="ba535c39-4054-42b2-abac-b5d0a4c19ecc" providerId="ADAL" clId="{9D18203E-ABB4-4205-BD02-C87CB632F49D}" dt="2024-11-22T18:23:45.238" v="8134"/>
          <ac:spMkLst>
            <pc:docMk/>
            <pc:sldMk cId="401056042" sldId="2597"/>
            <ac:spMk id="12" creationId="{5D17EE77-FDBE-FCD5-DB7A-401A287716EF}"/>
          </ac:spMkLst>
        </pc:spChg>
        <pc:spChg chg="del">
          <ac:chgData name="Alexandre Fettermann Coutinho" userId="ba535c39-4054-42b2-abac-b5d0a4c19ecc" providerId="ADAL" clId="{9D18203E-ABB4-4205-BD02-C87CB632F49D}" dt="2024-11-22T17:58:44.059" v="6584" actId="478"/>
          <ac:spMkLst>
            <pc:docMk/>
            <pc:sldMk cId="401056042" sldId="2597"/>
            <ac:spMk id="13" creationId="{5765E5B9-FB77-45FF-1C46-B2BC98C72740}"/>
          </ac:spMkLst>
        </pc:spChg>
        <pc:graphicFrameChg chg="mod">
          <ac:chgData name="Alexandre Fettermann Coutinho" userId="ba535c39-4054-42b2-abac-b5d0a4c19ecc" providerId="ADAL" clId="{9D18203E-ABB4-4205-BD02-C87CB632F49D}" dt="2024-11-22T18:23:45.239" v="8136"/>
          <ac:graphicFrameMkLst>
            <pc:docMk/>
            <pc:sldMk cId="401056042" sldId="2597"/>
            <ac:graphicFrameMk id="3" creationId="{1E5CB069-257A-5444-C57B-715C262F4871}"/>
          </ac:graphicFrameMkLst>
        </pc:graphicFrameChg>
        <pc:picChg chg="add mod">
          <ac:chgData name="Alexandre Fettermann Coutinho" userId="ba535c39-4054-42b2-abac-b5d0a4c19ecc" providerId="ADAL" clId="{9D18203E-ABB4-4205-BD02-C87CB632F49D}" dt="2024-11-22T18:04:19.602" v="6597" actId="1076"/>
          <ac:picMkLst>
            <pc:docMk/>
            <pc:sldMk cId="401056042" sldId="2597"/>
            <ac:picMk id="6" creationId="{5CEE4330-F23B-84EA-A065-17778E5C6828}"/>
          </ac:picMkLst>
        </pc:picChg>
        <pc:picChg chg="del">
          <ac:chgData name="Alexandre Fettermann Coutinho" userId="ba535c39-4054-42b2-abac-b5d0a4c19ecc" providerId="ADAL" clId="{9D18203E-ABB4-4205-BD02-C87CB632F49D}" dt="2024-11-22T17:58:42.203" v="6583" actId="478"/>
          <ac:picMkLst>
            <pc:docMk/>
            <pc:sldMk cId="401056042" sldId="2597"/>
            <ac:picMk id="8" creationId="{CB6603D9-3AD2-C376-3D9A-A251354D7F4F}"/>
          </ac:picMkLst>
        </pc:picChg>
      </pc:sldChg>
      <pc:sldChg chg="addSp delSp modSp add mod">
        <pc:chgData name="Alexandre Fettermann Coutinho" userId="ba535c39-4054-42b2-abac-b5d0a4c19ecc" providerId="ADAL" clId="{9D18203E-ABB4-4205-BD02-C87CB632F49D}" dt="2024-11-22T18:23:55.567" v="8224"/>
        <pc:sldMkLst>
          <pc:docMk/>
          <pc:sldMk cId="2258062328" sldId="2598"/>
        </pc:sldMkLst>
        <pc:spChg chg="mod">
          <ac:chgData name="Alexandre Fettermann Coutinho" userId="ba535c39-4054-42b2-abac-b5d0a4c19ecc" providerId="ADAL" clId="{9D18203E-ABB4-4205-BD02-C87CB632F49D}" dt="2024-11-22T18:23:55.535" v="8200" actId="948"/>
          <ac:spMkLst>
            <pc:docMk/>
            <pc:sldMk cId="2258062328" sldId="2598"/>
            <ac:spMk id="2" creationId="{6766A1B7-D07C-B910-EA0A-812655FCCB4A}"/>
          </ac:spMkLst>
        </pc:spChg>
        <pc:spChg chg="mod">
          <ac:chgData name="Alexandre Fettermann Coutinho" userId="ba535c39-4054-42b2-abac-b5d0a4c19ecc" providerId="ADAL" clId="{9D18203E-ABB4-4205-BD02-C87CB632F49D}" dt="2024-11-22T18:21:54.066" v="8022" actId="20577"/>
          <ac:spMkLst>
            <pc:docMk/>
            <pc:sldMk cId="2258062328" sldId="2598"/>
            <ac:spMk id="4" creationId="{61B17990-7DB0-F756-7DE7-23348D040D69}"/>
          </ac:spMkLst>
        </pc:spChg>
        <pc:spChg chg="add del mod modVis">
          <ac:chgData name="Alexandre Fettermann Coutinho" userId="ba535c39-4054-42b2-abac-b5d0a4c19ecc" providerId="ADAL" clId="{9D18203E-ABB4-4205-BD02-C87CB632F49D}" dt="2024-11-22T18:23:49.403" v="8163"/>
          <ac:spMkLst>
            <pc:docMk/>
            <pc:sldMk cId="2258062328" sldId="2598"/>
            <ac:spMk id="10" creationId="{72E51CB7-0755-BF07-3F56-054E362D96C7}"/>
          </ac:spMkLst>
        </pc:spChg>
        <pc:spChg chg="add del mod modVis">
          <ac:chgData name="Alexandre Fettermann Coutinho" userId="ba535c39-4054-42b2-abac-b5d0a4c19ecc" providerId="ADAL" clId="{9D18203E-ABB4-4205-BD02-C87CB632F49D}" dt="2024-11-22T18:23:51.998" v="8196"/>
          <ac:spMkLst>
            <pc:docMk/>
            <pc:sldMk cId="2258062328" sldId="2598"/>
            <ac:spMk id="11" creationId="{C565353C-CDB0-2C1A-C5DF-6D90199851DF}"/>
          </ac:spMkLst>
        </pc:spChg>
        <pc:spChg chg="add del mod modVis">
          <ac:chgData name="Alexandre Fettermann Coutinho" userId="ba535c39-4054-42b2-abac-b5d0a4c19ecc" providerId="ADAL" clId="{9D18203E-ABB4-4205-BD02-C87CB632F49D}" dt="2024-11-22T18:23:55.565" v="8222"/>
          <ac:spMkLst>
            <pc:docMk/>
            <pc:sldMk cId="2258062328" sldId="2598"/>
            <ac:spMk id="12" creationId="{C0D9F7DB-F05E-A6F6-7013-2C24AF63832E}"/>
          </ac:spMkLst>
        </pc:spChg>
        <pc:graphicFrameChg chg="mod">
          <ac:chgData name="Alexandre Fettermann Coutinho" userId="ba535c39-4054-42b2-abac-b5d0a4c19ecc" providerId="ADAL" clId="{9D18203E-ABB4-4205-BD02-C87CB632F49D}" dt="2024-11-22T18:23:55.567" v="8224"/>
          <ac:graphicFrameMkLst>
            <pc:docMk/>
            <pc:sldMk cId="2258062328" sldId="2598"/>
            <ac:graphicFrameMk id="3" creationId="{1E5CB069-257A-5444-C57B-715C262F4871}"/>
          </ac:graphicFrameMkLst>
        </pc:graphicFrameChg>
        <pc:picChg chg="del">
          <ac:chgData name="Alexandre Fettermann Coutinho" userId="ba535c39-4054-42b2-abac-b5d0a4c19ecc" providerId="ADAL" clId="{9D18203E-ABB4-4205-BD02-C87CB632F49D}" dt="2024-11-22T18:15:19.019" v="7406" actId="478"/>
          <ac:picMkLst>
            <pc:docMk/>
            <pc:sldMk cId="2258062328" sldId="2598"/>
            <ac:picMk id="6" creationId="{5CEE4330-F23B-84EA-A065-17778E5C6828}"/>
          </ac:picMkLst>
        </pc:picChg>
        <pc:picChg chg="add del mod">
          <ac:chgData name="Alexandre Fettermann Coutinho" userId="ba535c39-4054-42b2-abac-b5d0a4c19ecc" providerId="ADAL" clId="{9D18203E-ABB4-4205-BD02-C87CB632F49D}" dt="2024-11-22T18:16:20.005" v="7409" actId="478"/>
          <ac:picMkLst>
            <pc:docMk/>
            <pc:sldMk cId="2258062328" sldId="2598"/>
            <ac:picMk id="7" creationId="{1FC1ED50-D114-C0A7-7106-699809DC8952}"/>
          </ac:picMkLst>
        </pc:picChg>
        <pc:picChg chg="add mod">
          <ac:chgData name="Alexandre Fettermann Coutinho" userId="ba535c39-4054-42b2-abac-b5d0a4c19ecc" providerId="ADAL" clId="{9D18203E-ABB4-4205-BD02-C87CB632F49D}" dt="2024-11-22T18:16:28.909" v="7413" actId="1076"/>
          <ac:picMkLst>
            <pc:docMk/>
            <pc:sldMk cId="2258062328" sldId="2598"/>
            <ac:picMk id="9" creationId="{A64558F5-B5A5-CE74-305F-E1479D8DB23E}"/>
          </ac:picMkLst>
        </pc:picChg>
      </pc:sldChg>
      <pc:sldChg chg="addSp delSp modSp add mod">
        <pc:chgData name="Alexandre Fettermann Coutinho" userId="ba535c39-4054-42b2-abac-b5d0a4c19ecc" providerId="ADAL" clId="{9D18203E-ABB4-4205-BD02-C87CB632F49D}" dt="2024-11-22T18:45:27.042" v="8611" actId="20577"/>
        <pc:sldMkLst>
          <pc:docMk/>
          <pc:sldMk cId="189025133" sldId="2599"/>
        </pc:sldMkLst>
        <pc:spChg chg="mod">
          <ac:chgData name="Alexandre Fettermann Coutinho" userId="ba535c39-4054-42b2-abac-b5d0a4c19ecc" providerId="ADAL" clId="{9D18203E-ABB4-4205-BD02-C87CB632F49D}" dt="2024-11-22T18:45:27.042" v="8611" actId="20577"/>
          <ac:spMkLst>
            <pc:docMk/>
            <pc:sldMk cId="189025133" sldId="2599"/>
            <ac:spMk id="4" creationId="{61B17990-7DB0-F756-7DE7-23348D040D69}"/>
          </ac:spMkLst>
        </pc:spChg>
        <pc:picChg chg="add mod">
          <ac:chgData name="Alexandre Fettermann Coutinho" userId="ba535c39-4054-42b2-abac-b5d0a4c19ecc" providerId="ADAL" clId="{9D18203E-ABB4-4205-BD02-C87CB632F49D}" dt="2024-11-22T18:28:02.331" v="8247" actId="1076"/>
          <ac:picMkLst>
            <pc:docMk/>
            <pc:sldMk cId="189025133" sldId="2599"/>
            <ac:picMk id="6" creationId="{7BD33CF7-84BD-2EDB-25D0-9ABC974D35A0}"/>
          </ac:picMkLst>
        </pc:picChg>
        <pc:picChg chg="del">
          <ac:chgData name="Alexandre Fettermann Coutinho" userId="ba535c39-4054-42b2-abac-b5d0a4c19ecc" providerId="ADAL" clId="{9D18203E-ABB4-4205-BD02-C87CB632F49D}" dt="2024-11-22T18:25:04.894" v="8226" actId="478"/>
          <ac:picMkLst>
            <pc:docMk/>
            <pc:sldMk cId="189025133" sldId="2599"/>
            <ac:picMk id="9" creationId="{A64558F5-B5A5-CE74-305F-E1479D8DB23E}"/>
          </ac:picMkLst>
        </pc:picChg>
      </pc:sldChg>
      <pc:sldChg chg="addSp delSp modSp add mod">
        <pc:chgData name="Alexandre Fettermann Coutinho" userId="ba535c39-4054-42b2-abac-b5d0a4c19ecc" providerId="ADAL" clId="{9D18203E-ABB4-4205-BD02-C87CB632F49D}" dt="2024-11-22T18:53:33.957" v="8963" actId="478"/>
        <pc:sldMkLst>
          <pc:docMk/>
          <pc:sldMk cId="3260678793" sldId="2600"/>
        </pc:sldMkLst>
        <pc:spChg chg="mod">
          <ac:chgData name="Alexandre Fettermann Coutinho" userId="ba535c39-4054-42b2-abac-b5d0a4c19ecc" providerId="ADAL" clId="{9D18203E-ABB4-4205-BD02-C87CB632F49D}" dt="2024-11-22T18:52:18.069" v="8961" actId="14100"/>
          <ac:spMkLst>
            <pc:docMk/>
            <pc:sldMk cId="3260678793" sldId="2600"/>
            <ac:spMk id="4" creationId="{61B17990-7DB0-F756-7DE7-23348D040D69}"/>
          </ac:spMkLst>
        </pc:spChg>
        <pc:picChg chg="del">
          <ac:chgData name="Alexandre Fettermann Coutinho" userId="ba535c39-4054-42b2-abac-b5d0a4c19ecc" providerId="ADAL" clId="{9D18203E-ABB4-4205-BD02-C87CB632F49D}" dt="2024-11-22T18:45:56.567" v="8641" actId="478"/>
          <ac:picMkLst>
            <pc:docMk/>
            <pc:sldMk cId="3260678793" sldId="2600"/>
            <ac:picMk id="6" creationId="{7BD33CF7-84BD-2EDB-25D0-9ABC974D35A0}"/>
          </ac:picMkLst>
        </pc:picChg>
        <pc:picChg chg="add del mod">
          <ac:chgData name="Alexandre Fettermann Coutinho" userId="ba535c39-4054-42b2-abac-b5d0a4c19ecc" providerId="ADAL" clId="{9D18203E-ABB4-4205-BD02-C87CB632F49D}" dt="2024-11-22T18:48:54.472" v="8760" actId="478"/>
          <ac:picMkLst>
            <pc:docMk/>
            <pc:sldMk cId="3260678793" sldId="2600"/>
            <ac:picMk id="7" creationId="{9CDE17A2-CD11-D5EF-036F-85EC2D511783}"/>
          </ac:picMkLst>
        </pc:picChg>
        <pc:picChg chg="add mod">
          <ac:chgData name="Alexandre Fettermann Coutinho" userId="ba535c39-4054-42b2-abac-b5d0a4c19ecc" providerId="ADAL" clId="{9D18203E-ABB4-4205-BD02-C87CB632F49D}" dt="2024-11-22T18:50:10.827" v="8763" actId="1076"/>
          <ac:picMkLst>
            <pc:docMk/>
            <pc:sldMk cId="3260678793" sldId="2600"/>
            <ac:picMk id="9" creationId="{5D1CF433-7B5A-CC68-62D6-3C09FD64EC96}"/>
          </ac:picMkLst>
        </pc:picChg>
        <pc:picChg chg="add del mod">
          <ac:chgData name="Alexandre Fettermann Coutinho" userId="ba535c39-4054-42b2-abac-b5d0a4c19ecc" providerId="ADAL" clId="{9D18203E-ABB4-4205-BD02-C87CB632F49D}" dt="2024-11-22T18:53:33.957" v="8963" actId="478"/>
          <ac:picMkLst>
            <pc:docMk/>
            <pc:sldMk cId="3260678793" sldId="2600"/>
            <ac:picMk id="10" creationId="{D32337E3-760A-2FCB-5705-6D1FB22E5862}"/>
          </ac:picMkLst>
        </pc:picChg>
      </pc:sldChg>
      <pc:sldChg chg="addSp delSp modSp add mod delAnim modAnim">
        <pc:chgData name="Alexandre Fettermann Coutinho" userId="ba535c39-4054-42b2-abac-b5d0a4c19ecc" providerId="ADAL" clId="{9D18203E-ABB4-4205-BD02-C87CB632F49D}" dt="2024-11-22T19:15:18.134" v="9841" actId="20577"/>
        <pc:sldMkLst>
          <pc:docMk/>
          <pc:sldMk cId="3838052113" sldId="2601"/>
        </pc:sldMkLst>
        <pc:spChg chg="mod">
          <ac:chgData name="Alexandre Fettermann Coutinho" userId="ba535c39-4054-42b2-abac-b5d0a4c19ecc" providerId="ADAL" clId="{9D18203E-ABB4-4205-BD02-C87CB632F49D}" dt="2024-11-22T18:53:47.777" v="8984" actId="948"/>
          <ac:spMkLst>
            <pc:docMk/>
            <pc:sldMk cId="3838052113" sldId="2601"/>
            <ac:spMk id="2" creationId="{6766A1B7-D07C-B910-EA0A-812655FCCB4A}"/>
          </ac:spMkLst>
        </pc:spChg>
        <pc:spChg chg="del">
          <ac:chgData name="Alexandre Fettermann Coutinho" userId="ba535c39-4054-42b2-abac-b5d0a4c19ecc" providerId="ADAL" clId="{9D18203E-ABB4-4205-BD02-C87CB632F49D}" dt="2024-11-22T18:53:51.054" v="8988" actId="478"/>
          <ac:spMkLst>
            <pc:docMk/>
            <pc:sldMk cId="3838052113" sldId="2601"/>
            <ac:spMk id="4" creationId="{61B17990-7DB0-F756-7DE7-23348D040D69}"/>
          </ac:spMkLst>
        </pc:spChg>
        <pc:spChg chg="add del mod">
          <ac:chgData name="Alexandre Fettermann Coutinho" userId="ba535c39-4054-42b2-abac-b5d0a4c19ecc" providerId="ADAL" clId="{9D18203E-ABB4-4205-BD02-C87CB632F49D}" dt="2024-11-22T18:53:52.675" v="8989" actId="478"/>
          <ac:spMkLst>
            <pc:docMk/>
            <pc:sldMk cId="3838052113" sldId="2601"/>
            <ac:spMk id="6" creationId="{B668D7F5-51E6-0723-3B9D-50BB3EA6E6F4}"/>
          </ac:spMkLst>
        </pc:spChg>
        <pc:spChg chg="add mod">
          <ac:chgData name="Alexandre Fettermann Coutinho" userId="ba535c39-4054-42b2-abac-b5d0a4c19ecc" providerId="ADAL" clId="{9D18203E-ABB4-4205-BD02-C87CB632F49D}" dt="2024-11-22T19:15:18.134" v="9841" actId="20577"/>
          <ac:spMkLst>
            <pc:docMk/>
            <pc:sldMk cId="3838052113" sldId="2601"/>
            <ac:spMk id="8" creationId="{18276359-75E5-7972-25FB-FCB2BE54CD84}"/>
          </ac:spMkLst>
        </pc:spChg>
        <pc:graphicFrameChg chg="mod">
          <ac:chgData name="Alexandre Fettermann Coutinho" userId="ba535c39-4054-42b2-abac-b5d0a4c19ecc" providerId="ADAL" clId="{9D18203E-ABB4-4205-BD02-C87CB632F49D}" dt="2024-11-22T18:53:47.777" v="8986"/>
          <ac:graphicFrameMkLst>
            <pc:docMk/>
            <pc:sldMk cId="3838052113" sldId="2601"/>
            <ac:graphicFrameMk id="3" creationId="{1E5CB069-257A-5444-C57B-715C262F4871}"/>
          </ac:graphicFrameMkLst>
        </pc:graphicFrameChg>
        <pc:picChg chg="add mod">
          <ac:chgData name="Alexandre Fettermann Coutinho" userId="ba535c39-4054-42b2-abac-b5d0a4c19ecc" providerId="ADAL" clId="{9D18203E-ABB4-4205-BD02-C87CB632F49D}" dt="2024-11-22T18:54:08.089" v="8993" actId="1076"/>
          <ac:picMkLst>
            <pc:docMk/>
            <pc:sldMk cId="3838052113" sldId="2601"/>
            <ac:picMk id="7" creationId="{E900A6DA-67D8-E45A-E4DA-E101129A5BF3}"/>
          </ac:picMkLst>
        </pc:picChg>
        <pc:picChg chg="del">
          <ac:chgData name="Alexandre Fettermann Coutinho" userId="ba535c39-4054-42b2-abac-b5d0a4c19ecc" providerId="ADAL" clId="{9D18203E-ABB4-4205-BD02-C87CB632F49D}" dt="2024-11-22T18:53:49.111" v="8987" actId="478"/>
          <ac:picMkLst>
            <pc:docMk/>
            <pc:sldMk cId="3838052113" sldId="2601"/>
            <ac:picMk id="9" creationId="{5D1CF433-7B5A-CC68-62D6-3C09FD64EC96}"/>
          </ac:picMkLst>
        </pc:picChg>
      </pc:sldChg>
      <pc:sldChg chg="addSp delSp modSp add mod setBg delDesignElem modShow">
        <pc:chgData name="Alexandre Fettermann Coutinho" userId="ba535c39-4054-42b2-abac-b5d0a4c19ecc" providerId="ADAL" clId="{9D18203E-ABB4-4205-BD02-C87CB632F49D}" dt="2024-11-22T19:16:15.825" v="9957" actId="27636"/>
        <pc:sldMkLst>
          <pc:docMk/>
          <pc:sldMk cId="3663960708" sldId="2602"/>
        </pc:sldMkLst>
        <pc:spChg chg="mod">
          <ac:chgData name="Alexandre Fettermann Coutinho" userId="ba535c39-4054-42b2-abac-b5d0a4c19ecc" providerId="ADAL" clId="{9D18203E-ABB4-4205-BD02-C87CB632F49D}" dt="2024-11-22T19:08:49.753" v="9778" actId="948"/>
          <ac:spMkLst>
            <pc:docMk/>
            <pc:sldMk cId="3663960708" sldId="2602"/>
            <ac:spMk id="2" creationId="{AE275CD1-8D3C-0D05-4618-EBFB83961D2E}"/>
          </ac:spMkLst>
        </pc:spChg>
        <pc:spChg chg="mod">
          <ac:chgData name="Alexandre Fettermann Coutinho" userId="ba535c39-4054-42b2-abac-b5d0a4c19ecc" providerId="ADAL" clId="{9D18203E-ABB4-4205-BD02-C87CB632F49D}" dt="2024-11-22T19:16:15.825" v="9957" actId="27636"/>
          <ac:spMkLst>
            <pc:docMk/>
            <pc:sldMk cId="3663960708" sldId="2602"/>
            <ac:spMk id="4" creationId="{BCB6C9DE-C506-BE15-A548-374415A0C2F7}"/>
          </ac:spMkLst>
        </pc:spChg>
        <pc:spChg chg="add del mod modVis">
          <ac:chgData name="Alexandre Fettermann Coutinho" userId="ba535c39-4054-42b2-abac-b5d0a4c19ecc" providerId="ADAL" clId="{9D18203E-ABB4-4205-BD02-C87CB632F49D}" dt="2024-11-22T19:08:41.705" v="9605"/>
          <ac:spMkLst>
            <pc:docMk/>
            <pc:sldMk cId="3663960708" sldId="2602"/>
            <ac:spMk id="6" creationId="{A561EA91-FC9F-577D-81AE-A7C7D70F7AC8}"/>
          </ac:spMkLst>
        </pc:spChg>
        <pc:spChg chg="add del mod modVis">
          <ac:chgData name="Alexandre Fettermann Coutinho" userId="ba535c39-4054-42b2-abac-b5d0a4c19ecc" providerId="ADAL" clId="{9D18203E-ABB4-4205-BD02-C87CB632F49D}" dt="2024-11-22T19:08:42.540" v="9633"/>
          <ac:spMkLst>
            <pc:docMk/>
            <pc:sldMk cId="3663960708" sldId="2602"/>
            <ac:spMk id="7" creationId="{886539F3-E64D-09D3-E506-2C0AC0BDAE42}"/>
          </ac:spMkLst>
        </pc:spChg>
        <pc:spChg chg="add del mod modVis">
          <ac:chgData name="Alexandre Fettermann Coutinho" userId="ba535c39-4054-42b2-abac-b5d0a4c19ecc" providerId="ADAL" clId="{9D18203E-ABB4-4205-BD02-C87CB632F49D}" dt="2024-11-22T19:08:44.165" v="9659"/>
          <ac:spMkLst>
            <pc:docMk/>
            <pc:sldMk cId="3663960708" sldId="2602"/>
            <ac:spMk id="8" creationId="{EB21FB6C-7BAF-02A6-60E7-70FDC8901198}"/>
          </ac:spMkLst>
        </pc:spChg>
        <pc:spChg chg="add del mod modVis">
          <ac:chgData name="Alexandre Fettermann Coutinho" userId="ba535c39-4054-42b2-abac-b5d0a4c19ecc" providerId="ADAL" clId="{9D18203E-ABB4-4205-BD02-C87CB632F49D}" dt="2024-11-22T19:08:45.361" v="9685"/>
          <ac:spMkLst>
            <pc:docMk/>
            <pc:sldMk cId="3663960708" sldId="2602"/>
            <ac:spMk id="9" creationId="{45DB11AE-EED6-7F61-19EF-610F9511E97E}"/>
          </ac:spMkLst>
        </pc:spChg>
        <pc:spChg chg="add del mod modVis">
          <ac:chgData name="Alexandre Fettermann Coutinho" userId="ba535c39-4054-42b2-abac-b5d0a4c19ecc" providerId="ADAL" clId="{9D18203E-ABB4-4205-BD02-C87CB632F49D}" dt="2024-11-22T19:08:46.085" v="9711"/>
          <ac:spMkLst>
            <pc:docMk/>
            <pc:sldMk cId="3663960708" sldId="2602"/>
            <ac:spMk id="11" creationId="{DA5F5FA9-F398-0453-FB19-3A2BC4320DC3}"/>
          </ac:spMkLst>
        </pc:spChg>
        <pc:spChg chg="add del mod modVis">
          <ac:chgData name="Alexandre Fettermann Coutinho" userId="ba535c39-4054-42b2-abac-b5d0a4c19ecc" providerId="ADAL" clId="{9D18203E-ABB4-4205-BD02-C87CB632F49D}" dt="2024-11-22T19:08:46.415" v="9737"/>
          <ac:spMkLst>
            <pc:docMk/>
            <pc:sldMk cId="3663960708" sldId="2602"/>
            <ac:spMk id="13" creationId="{20344BB9-F436-C1DB-2E36-062D0C11AA89}"/>
          </ac:spMkLst>
        </pc:spChg>
        <pc:spChg chg="del">
          <ac:chgData name="Alexandre Fettermann Coutinho" userId="ba535c39-4054-42b2-abac-b5d0a4c19ecc" providerId="ADAL" clId="{9D18203E-ABB4-4205-BD02-C87CB632F49D}" dt="2024-11-22T19:06:29.581" v="9423"/>
          <ac:spMkLst>
            <pc:docMk/>
            <pc:sldMk cId="3663960708" sldId="2602"/>
            <ac:spMk id="14" creationId="{E49D7415-2F11-44C2-B6AA-13A25B6814B9}"/>
          </ac:spMkLst>
        </pc:spChg>
        <pc:spChg chg="add del mod modVis">
          <ac:chgData name="Alexandre Fettermann Coutinho" userId="ba535c39-4054-42b2-abac-b5d0a4c19ecc" providerId="ADAL" clId="{9D18203E-ABB4-4205-BD02-C87CB632F49D}" dt="2024-11-22T19:08:48.320" v="9769"/>
          <ac:spMkLst>
            <pc:docMk/>
            <pc:sldMk cId="3663960708" sldId="2602"/>
            <ac:spMk id="15" creationId="{3DEA89C4-337B-67C4-72E0-E11A73D5192F}"/>
          </ac:spMkLst>
        </pc:spChg>
        <pc:spChg chg="add del mod modVis">
          <ac:chgData name="Alexandre Fettermann Coutinho" userId="ba535c39-4054-42b2-abac-b5d0a4c19ecc" providerId="ADAL" clId="{9D18203E-ABB4-4205-BD02-C87CB632F49D}" dt="2024-11-22T19:08:49.769" v="9800"/>
          <ac:spMkLst>
            <pc:docMk/>
            <pc:sldMk cId="3663960708" sldId="2602"/>
            <ac:spMk id="17" creationId="{EF21F2B8-A9B4-DB5E-9D53-DC22600A964B}"/>
          </ac:spMkLst>
        </pc:spChg>
        <pc:graphicFrameChg chg="add mod ord modVis">
          <ac:chgData name="Alexandre Fettermann Coutinho" userId="ba535c39-4054-42b2-abac-b5d0a4c19ecc" providerId="ADAL" clId="{9D18203E-ABB4-4205-BD02-C87CB632F49D}" dt="2024-11-22T19:08:49.769" v="9802"/>
          <ac:graphicFrameMkLst>
            <pc:docMk/>
            <pc:sldMk cId="3663960708" sldId="2602"/>
            <ac:graphicFrameMk id="3" creationId="{243C8829-BBB4-C146-BBC4-667839CF331E}"/>
          </ac:graphicFrameMkLst>
        </pc:graphicFrameChg>
        <pc:picChg chg="mod">
          <ac:chgData name="Alexandre Fettermann Coutinho" userId="ba535c39-4054-42b2-abac-b5d0a4c19ecc" providerId="ADAL" clId="{9D18203E-ABB4-4205-BD02-C87CB632F49D}" dt="2024-11-22T19:06:47.910" v="9459" actId="14100"/>
          <ac:picMkLst>
            <pc:docMk/>
            <pc:sldMk cId="3663960708" sldId="2602"/>
            <ac:picMk id="5" creationId="{CAFE0E53-0226-4CC8-9F31-C7832F216539}"/>
          </ac:picMkLst>
        </pc:picChg>
        <pc:cxnChg chg="del">
          <ac:chgData name="Alexandre Fettermann Coutinho" userId="ba535c39-4054-42b2-abac-b5d0a4c19ecc" providerId="ADAL" clId="{9D18203E-ABB4-4205-BD02-C87CB632F49D}" dt="2024-11-22T19:06:29.581" v="9423"/>
          <ac:cxnSpMkLst>
            <pc:docMk/>
            <pc:sldMk cId="3663960708" sldId="2602"/>
            <ac:cxnSpMk id="10" creationId="{F64F9B95-9045-48D2-B9F3-2927E98F54AA}"/>
          </ac:cxnSpMkLst>
        </pc:cxnChg>
        <pc:cxnChg chg="del">
          <ac:chgData name="Alexandre Fettermann Coutinho" userId="ba535c39-4054-42b2-abac-b5d0a4c19ecc" providerId="ADAL" clId="{9D18203E-ABB4-4205-BD02-C87CB632F49D}" dt="2024-11-22T19:06:29.581" v="9423"/>
          <ac:cxnSpMkLst>
            <pc:docMk/>
            <pc:sldMk cId="3663960708" sldId="2602"/>
            <ac:cxnSpMk id="12" creationId="{085AA86F-6A4D-4BCB-A045-D992CDC2959B}"/>
          </ac:cxnSpMkLst>
        </pc:cxnChg>
        <pc:cxnChg chg="del">
          <ac:chgData name="Alexandre Fettermann Coutinho" userId="ba535c39-4054-42b2-abac-b5d0a4c19ecc" providerId="ADAL" clId="{9D18203E-ABB4-4205-BD02-C87CB632F49D}" dt="2024-11-22T19:06:29.581" v="9423"/>
          <ac:cxnSpMkLst>
            <pc:docMk/>
            <pc:sldMk cId="3663960708" sldId="2602"/>
            <ac:cxnSpMk id="16" creationId="{511FC409-B3C2-4F68-865C-C5333D6F2710}"/>
          </ac:cxnSpMkLst>
        </pc:cxnChg>
        <pc:cxnChg chg="del">
          <ac:chgData name="Alexandre Fettermann Coutinho" userId="ba535c39-4054-42b2-abac-b5d0a4c19ecc" providerId="ADAL" clId="{9D18203E-ABB4-4205-BD02-C87CB632F49D}" dt="2024-11-22T19:06:29.581" v="9423"/>
          <ac:cxnSpMkLst>
            <pc:docMk/>
            <pc:sldMk cId="3663960708" sldId="2602"/>
            <ac:cxnSpMk id="18" creationId="{B810270D-76A7-44B3-9746-7EDF5788602E}"/>
          </ac:cxnSpMkLst>
        </pc:cxnChg>
      </pc:sldChg>
      <pc:sldMasterChg chg="addSp delSp modSp mod delSldLayout">
        <pc:chgData name="Alexandre Fettermann Coutinho" userId="ba535c39-4054-42b2-abac-b5d0a4c19ecc" providerId="ADAL" clId="{9D18203E-ABB4-4205-BD02-C87CB632F49D}" dt="2024-11-21T11:19:03.620" v="1130" actId="47"/>
        <pc:sldMasterMkLst>
          <pc:docMk/>
          <pc:sldMasterMk cId="1900341903" sldId="2147483660"/>
        </pc:sldMasterMkLst>
        <pc:spChg chg="mod">
          <ac:chgData name="Alexandre Fettermann Coutinho" userId="ba535c39-4054-42b2-abac-b5d0a4c19ecc" providerId="ADAL" clId="{9D18203E-ABB4-4205-BD02-C87CB632F49D}" dt="2024-11-21T10:47:21.563" v="3" actId="948"/>
          <ac:spMkLst>
            <pc:docMk/>
            <pc:sldMasterMk cId="1900341903" sldId="2147483660"/>
            <ac:spMk id="2" creationId="{47A362AC-B59F-4AC7-B279-57DDD5336BCA}"/>
          </ac:spMkLst>
        </pc:spChg>
        <pc:spChg chg="add del mod modVis">
          <ac:chgData name="Alexandre Fettermann Coutinho" userId="ba535c39-4054-42b2-abac-b5d0a4c19ecc" providerId="ADAL" clId="{9D18203E-ABB4-4205-BD02-C87CB632F49D}" dt="2024-11-21T10:47:21.636" v="47"/>
          <ac:spMkLst>
            <pc:docMk/>
            <pc:sldMasterMk cId="1900341903" sldId="2147483660"/>
            <ac:spMk id="11" creationId="{C35BAF63-BAE6-B527-BFA3-14C50EF40CD2}"/>
          </ac:spMkLst>
        </pc:spChg>
        <pc:graphicFrameChg chg="add mod ord modVis">
          <ac:chgData name="Alexandre Fettermann Coutinho" userId="ba535c39-4054-42b2-abac-b5d0a4c19ecc" providerId="ADAL" clId="{9D18203E-ABB4-4205-BD02-C87CB632F49D}" dt="2024-11-21T10:47:21.659" v="61"/>
          <ac:graphicFrameMkLst>
            <pc:docMk/>
            <pc:sldMasterMk cId="1900341903" sldId="2147483660"/>
            <ac:graphicFrameMk id="12" creationId="{9DA73888-C445-2A0A-600A-8DD7CFDD08C5}"/>
          </ac:graphicFrameMkLst>
        </pc:graphicFrameChg>
        <pc:sldLayoutChg chg="del">
          <pc:chgData name="Alexandre Fettermann Coutinho" userId="ba535c39-4054-42b2-abac-b5d0a4c19ecc" providerId="ADAL" clId="{9D18203E-ABB4-4205-BD02-C87CB632F49D}" dt="2024-11-21T11:19:03.620" v="1130" actId="47"/>
          <pc:sldLayoutMkLst>
            <pc:docMk/>
            <pc:sldMasterMk cId="1900341903" sldId="2147483660"/>
            <pc:sldLayoutMk cId="797179872" sldId="2147483672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E9AD33-6F5E-4CDE-8643-36ED87CEF4D5}" type="datetimeFigureOut">
              <a:rPr lang="pt-BR" smtClean="0"/>
              <a:t>22/11/202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55BEDD-AC7E-494C-810E-27039DC1202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255369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Os conteúdos gerados pela IA podem estar incorretos.
---
A análise exploratória de dados (AED) é uma técnica essencial na ciência de dados. Nesta apresentação, exploraremos os fundamentos da AED e suas aplicações práticas em diversos setores.
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119522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Os dados coletados podem conter erros, valores ausentes e outliers que precisam ser tratados. A limpeza e pré-processamento dos dados envolvem a remoção de valores ausentes e outliers, a normalização dos dados e a seleção de recursos relevante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764184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Os valores ausentes e outliers podem afetar a qualidade da análise. É importante identificar e tratar esses valores antes de realizar a análise exploratória de dado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038443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 análise exploratória de dados é uma abordagem para analisar os dados e descobrir padrões, tendências, relações e anomalias. Nesta seção, vamos entender o objetivo da AED, sua importância na ciência de dados e as principais etapas e técnicas envolvida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5410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 AED é uma abordagem para analisar os dados e descobrir padrões, tendências, relações e anomalias. Seu objetivo é entender os dados e encontrar insights que possam ser usados para tomar decisões informada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489933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 análise exploratória de dados é uma das etapas mais importantes na ciência de dados. Ajuda a entender os dados e descobrir insights que podem ser usados ​​para tomar decisões informadas e construir modelos preciso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784267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s principais etapas da AED são coleta e preparação de dados, visualização de dados, análise estatística descritiva e estudo de correlações e relações. As técnicas utilizadas incluem gráficos, tabelas, medidas de tendência central e dispersão, análise de correlação e matrizes de correlação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268239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 visualização de dados é uma das principais etapas da análise exploratória de dados. Nesta seção, vamos explorar os gráficos e suas aplicações, as ferramentas de visualização de dados e a interpretação de gráficos e diagrama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254780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Os gráficos são uma forma eficaz de visualizar os dados e entender padrões e tendências. As aplicações incluem gráficos de barras, gráficos de linha, histogramas, gráficos de dispersão e diagramas de caixa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323597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 interpretação correta de gráficos e diagramas é fundamental para a análise exploratória de dados. É importante saber como interpretar o eixo x e y, os rótulos de eixo, a legenda e as core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2585706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 análise estatística descritiva é uma técnica para descrever dados utilizando medidas de tendência central, medidas de dispersão e distribuição de frequência. Nesta seção, vamos explorar essas técnicas em detalhe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1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412433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Começaremos por entender o que é a análise exploratória de dados, sua importância na ciência de dados e as principais etapas e técnicas envolvidas. Em seguida, exploraremos a coleta e preparação dos dados, técnicas de visualização de dados e análise estatística descritiva. Finalmente, estudaremos o estudo de correlações e relações e as aplicações práticas da AED em diversos setore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243944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Existem várias ferramentas e linguagens de programação utilizadas na análise exploratória de dados, como Python, R e SAS. Cada ferramenta tem seus próprios recursos e vantagen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2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154331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s medidas de tendência central são utilizadas para descrever o comportamento central dos dados. As medidas incluem média, mediana e moda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478384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 distribuição de frequência é uma tabela que lista as frequências de cada valor ou intervalo de valores em um conjunto de dado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2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509089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 distribuição de frequência é uma tabela que lista as frequências de cada valor ou intervalo de valores em um conjunto de dado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2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4933567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 distribuição de frequência é uma tabela que lista as frequências de cada valor ou intervalo de valores em um conjunto de dado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2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7235084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 distribuição de frequência é uma tabela que lista as frequências de cada valor ou intervalo de valores em um conjunto de dado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2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7613056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 distribuição de frequência é uma tabela que lista as frequências de cada valor ou intervalo de valores em um conjunto de dado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2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7509887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 distribuição de frequência é uma tabela que lista as frequências de cada valor ou intervalo de valores em um conjunto de dado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2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6977666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 distribuição de frequência é uma tabela que lista as frequências de cada valor ou intervalo de valores em um conjunto de dado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2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232816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 análise de correlação é utilizada para identificar a relação entre duas variáveis. A correlação pode ser positiva, negativa ou não existir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2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838225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O objetivo do Grupo de Trabalho é conduzir iniciativas importantes dentro da organização. Estamos comprometidos em garantir que a equipe esteja engajada e trabalhando juntos para alcançar nossas meta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FCDD0A-52A2-47FA-9F80-4C763F51592B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0782480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s medidas de tendência central são utilizadas para descrever o comportamento central dos dados. As medidas incluem média, mediana e moda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3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5868782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s medidas de dispersão são utilizadas para descrever a variabilidade dos dados. As medidas incluem desvio padrão, variância e intervalo interquartil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3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261823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 distribuição de frequência é uma tabela que lista as frequências de cada valor ou intervalo de valores em um conjunto de dado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3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7355192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 análise de correlação é uma técnica para identificar a relação entre duas variáveis. Nesta seção, vamos explorar a análise de correlação, detecção de padrões e relações e a utilização de matrizes de correlação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3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7374562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 detecção de padrões e relações pode ajudar a identificar grupos de dados que compartilham características comuns. As técnicas incluem clusterização e associação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3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498417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s matrizes de correlação são utilizadas para visualizar as correlações entre várias variáveis. As cores são usadas para indicar a força da correlação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3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5911613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 análise exploratória de dados é uma técnica essencial na ciência de dados. Ajuda a entender os dados e encontrar insights que podem ser usados ​​para tomar decisões informadas e construir modelos precisos. Esperamos que esta apresentação tenha fornecido uma visão geral útil da AED e suas aplicaçõe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3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11656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 análise exploratória de dados é uma abordagem para analisar os dados e descobrir padrões, tendências, relações e anomalias. Nesta seção, vamos entender o objetivo da AED, sua importância na ciência de dados e as principais etapas e técnicas envolvida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433345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s principais etapas da AED são coleta e preparação de dados, visualização de dados, análise estatística descritiva e estudo de correlações e relações. As técnicas utilizadas incluem gráficos, tabelas, medidas de tendência central e dispersão, análise de correlação e matrizes de correlação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71951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s principais etapas da AED são coleta e preparação de dados, visualização de dados, análise estatística descritiva e estudo de correlações e relações. As técnicas utilizadas incluem gráficos, tabelas, medidas de tendência central e dispersão, análise de correlação e matrizes de correlação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427804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s principais etapas da AED são coleta e preparação de dados, visualização de dados, análise estatística descritiva e estudo de correlações e relações. As técnicas utilizadas incluem gráficos, tabelas, medidas de tendência central e dispersão, análise de correlação e matrizes de correlação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91661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 coleta e preparação dos dados são etapas críticas na análise exploratória de dados. Nesta seção, vamos explorar as fontes de dados e coleta, limpeza e pré-processamento dos dados e o tratamento de valores ausentes e outlier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24274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Os dados podem ser coletados de várias fontes, como bancos de dados, arquivos CSV ou APIs. É importante garantir que os dados coletados sejam relevantes, precisos e completo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5EB3C-A9FD-4FCA-9C4A-BD80FB61310F}" type="slidenum">
              <a:rPr lang="pt-BR" smtClean="0"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6759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8DE6C8-AB1D-4204-BC9C-3366B0BF04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088" y="889820"/>
            <a:ext cx="9989574" cy="3598606"/>
          </a:xfrm>
        </p:spPr>
        <p:txBody>
          <a:bodyPr anchor="t">
            <a:normAutofit/>
          </a:bodyPr>
          <a:lstStyle>
            <a:lvl1pPr algn="l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A7B9009-EE50-4EE5-B6EB-CD6EC83D3F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4088" y="4488426"/>
            <a:ext cx="6991776" cy="1302774"/>
          </a:xfrm>
        </p:spPr>
        <p:txBody>
          <a:bodyPr anchor="b"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C8667E-058A-436F-B8EA-5B3A99D43D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D1EADE-8E88-4C7C-8AC5-FB148DE4940E}" type="datetime1">
              <a:rPr lang="en-US" smtClean="0"/>
              <a:t>11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680305-1AD7-482D-BFFD-6CDB83AB39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5762A1-52E9-402D-B65E-DF193E44CE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7843D-FF13-4365-9478-9625B70A270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058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359C1-C098-4BF4-A55D-782F4E606B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D343C7E-1E8B-4D38-9B81-1AA2A8978E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A70B00-53AE-4D3F-91BE-A8D789ED9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C8B9C-477D-492A-96AD-1FC2CC997A73}" type="datetime1">
              <a:rPr lang="en-US" smtClean="0"/>
              <a:t>11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647FC7-8124-4F70-A849-B6BCC5189C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7CEBE4-50DC-47DB-B699-CCC024336C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7843D-FF13-4365-9478-9625B70A270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076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B418279-D3B8-4C6A-AB74-9DE37777127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242322" y="997974"/>
            <a:ext cx="2349043" cy="498495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28F733C-9309-4197-BACA-207CDC8935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768927" y="997973"/>
            <a:ext cx="8473395" cy="498495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ACD4D0-5BE6-412D-B08B-5DFFD59351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3AED5-E26D-4E29-B1B3-7847B6779594}" type="datetime1">
              <a:rPr lang="en-US" smtClean="0"/>
              <a:t>11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021651-B786-4A39-A10F-F5231D0A2C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504D2D-9379-40DE-9F45-3004BE54F1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7843D-FF13-4365-9478-9625B70A270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4592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987CA6-BFD9-4CB1-8892-F6B062E824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CDA8C3-9C0C-4E52-9A62-E4DB159E6B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C3EC35-E02F-41FF-9232-F90692A902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B6794-849E-4626-908B-D15793550EFB}" type="datetime1">
              <a:rPr lang="en-US" smtClean="0"/>
              <a:t>11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D13D38-5DF1-443B-8A12-71E834FDC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5E644A-4A37-4757-9809-5B035E2874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7843D-FF13-4365-9478-9625B70A270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2535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6578B-CD85-4BF1-A729-E8E8079B5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5383" y="1709738"/>
            <a:ext cx="10632067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8448C1-C13F-4826-8347-EEB00A6643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5383" y="4589463"/>
            <a:ext cx="10632067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06546A-957F-4C4D-9744-1177AD258E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DB64E7-5594-42A3-ADBF-E95A7ACEAD64}" type="datetime1">
              <a:rPr lang="en-US" smtClean="0"/>
              <a:t>11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DB149C-CC63-4E3A-A83D-EF637EB519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B94775-7982-41EC-B584-D51224D38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7843D-FF13-4365-9478-9625B70A270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1805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CE4BD8-507D-48E4-A624-F16A741C3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0635" y="914400"/>
            <a:ext cx="10691265" cy="130759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A07E4-3A39-457C-A059-7DFB6039D94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4088" y="2221992"/>
            <a:ext cx="5212080" cy="37398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B141E17-47CE-4A78-B0FA-0E9786DA67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1344" y="2221992"/>
            <a:ext cx="5212080" cy="37398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F02C13-D3ED-4044-9716-F29D79A184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462B0B-D248-4FFB-8695-AD7FA4B1284A}" type="datetime1">
              <a:rPr lang="en-US" smtClean="0"/>
              <a:t>11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F334AD-FB29-4355-B5CF-85E61B4F34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5AA154-790C-4774-9C21-8C543E733F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7843D-FF13-4365-9478-9625B70A270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10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07DD35-7673-4F88-86B0-634883B5E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087" y="929147"/>
            <a:ext cx="10689336" cy="79845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C820D7-3E0B-47C6-A583-C4C839C5AF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4088" y="1756538"/>
            <a:ext cx="5212080" cy="657225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A839A7B-97D5-400F-B802-A0FF28FE9F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04088" y="2442702"/>
            <a:ext cx="5212080" cy="351918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E0ECA2-DBF1-4681-9DFA-93AFD1B371D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81344" y="1756538"/>
            <a:ext cx="5212080" cy="657225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90EBBBB-517F-4ED7-9E51-CF0F7590B4D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81344" y="2442702"/>
            <a:ext cx="5212080" cy="351918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511B5C7-1E37-478F-B4B0-C7202FFE41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78EFB-9159-4510-B73F-4F0409ADE937}" type="datetime1">
              <a:rPr lang="en-US" smtClean="0"/>
              <a:t>11/22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153F7EF-507C-4CB3-86C5-8B34FFFC1D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8E3DEA6-E4EB-4C2A-8B4F-55EC965B62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7843D-FF13-4365-9478-9625B70A270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21786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32964-A933-4B98-A141-A4B316DAFA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684C9D-23DA-42B0-9DD3-7592F72E8D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C9412-2452-4BED-A324-9D8C115361AD}" type="datetime1">
              <a:rPr lang="en-US" smtClean="0"/>
              <a:t>11/2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BF8F05-876F-49D8-AE30-5BB2A91EC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53D20DA-9260-4577-BB51-789570A24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7843D-FF13-4365-9478-9625B70A270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41087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2C1F24-E0A1-45A7-8EF5-92CD979934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318F62-D251-40E8-A23C-F4CFE9FEAB41}" type="datetime1">
              <a:rPr lang="en-US" smtClean="0"/>
              <a:t>11/2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021C19-210E-46B0-9036-5D8AECC926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880FEF-487E-44DF-8615-DF2210419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7843D-FF13-4365-9478-9625B70A270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14103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568EE-74C8-43A6-90BC-2DDD965CF6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088" y="1069848"/>
            <a:ext cx="4093599" cy="131673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1C35AC-CAE3-48CF-A3E4-A075C9FDD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069848"/>
            <a:ext cx="6172200" cy="479120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9D03EA-5FAD-4609-A2B8-624E426847E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04088" y="2551176"/>
            <a:ext cx="4093599" cy="3319272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58D2EA-2191-4216-B64D-067BDFE12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76144-149E-4874-93A5-554A0357CF82}" type="datetime1">
              <a:rPr lang="en-US" smtClean="0"/>
              <a:t>11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042128-DAB4-481C-BEE6-3523E8E88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50E382-C500-4A4C-A7C6-43860383AB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7843D-FF13-4365-9478-9625B70A270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295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9FE98B-EACF-4251-A8AF-0D9EDD17C6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088" y="1066800"/>
            <a:ext cx="4103431" cy="1317523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905F473-761A-4002-AF70-9FF878D013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066800"/>
            <a:ext cx="6172200" cy="479425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0C2E6A-F834-4540-BB00-E13CB45DC3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04088" y="2552700"/>
            <a:ext cx="4103431" cy="33162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C38EAB-AD63-415C-B263-BA1D8FBE3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BA65D8-0540-4835-AE5C-25D29DBA01BE}" type="datetime1">
              <a:rPr lang="en-US" smtClean="0"/>
              <a:t>11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22E5541-B6DE-45E8-BCFE-0DFC4F5740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B78D45-289B-46AF-8CB9-E6150BEA1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7843D-FF13-4365-9478-9625B70A270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49296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9DA73888-C445-2A0A-600A-8DD7CFDD08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306857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347" imgH="348" progId="TCLayout.ActiveDocument.1">
                  <p:embed/>
                </p:oleObj>
              </mc:Choice>
              <mc:Fallback>
                <p:oleObj name="Slide do think-cell" r:id="rId14" imgW="347" imgH="34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73888-C445-2A0A-600A-8DD7CFDD08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7A362AC-B59F-4AC7-B279-57DDD5336B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0635" y="914400"/>
            <a:ext cx="10691265" cy="130759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6042DB-75BD-4EC1-B6D9-8A72EF940C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0635" y="2221992"/>
            <a:ext cx="10691265" cy="37398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DD1378-7C96-4079-B44C-3D86B46575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69448" y="6356350"/>
            <a:ext cx="25495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  <a:latin typeface="+mj-lt"/>
              </a:defRPr>
            </a:lvl1pPr>
          </a:lstStyle>
          <a:p>
            <a:fld id="{E31BA835-12AC-4E8F-955A-EA3F4DE2791F}" type="datetime1">
              <a:rPr lang="en-US" smtClean="0"/>
              <a:t>11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9B6B78-577F-43F5-BAEE-BF72484C98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4088" y="6356350"/>
            <a:ext cx="45397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CC75B8-AF8F-4D8A-9B3D-D1951A64BA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19012" y="6356350"/>
            <a:ext cx="6723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1"/>
                </a:solidFill>
              </a:defRPr>
            </a:lvl1pPr>
          </a:lstStyle>
          <a:p>
            <a:fld id="{87E7843D-FF13-4365-9478-9625B70A2705}" type="slidenum">
              <a:rPr lang="en-US" smtClean="0"/>
              <a:t>‹nº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64F9B95-9045-48D2-B9F3-2927E98F54AA}"/>
              </a:ext>
            </a:extLst>
          </p:cNvPr>
          <p:cNvCxnSpPr>
            <a:cxnSpLocks/>
          </p:cNvCxnSpPr>
          <p:nvPr/>
        </p:nvCxnSpPr>
        <p:spPr>
          <a:xfrm>
            <a:off x="800100" y="723900"/>
            <a:ext cx="10591800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5AA86F-6A4D-4BCB-A045-D992CDC2959B}"/>
              </a:ext>
            </a:extLst>
          </p:cNvPr>
          <p:cNvCxnSpPr>
            <a:cxnSpLocks/>
          </p:cNvCxnSpPr>
          <p:nvPr/>
        </p:nvCxnSpPr>
        <p:spPr>
          <a:xfrm>
            <a:off x="800100" y="6142781"/>
            <a:ext cx="10591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0023398-93D9-32D0-1BD1-6FFD4B7647D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461963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pt-BR" sz="900">
                <a:solidFill>
                  <a:srgbClr val="737373"/>
                </a:solidFill>
                <a:latin typeface="Trebuchet MS" panose="020B0603020202020204" pitchFamily="34" charset="0"/>
              </a:rPr>
              <a:t>PÚBLICA</a:t>
            </a:r>
          </a:p>
        </p:txBody>
      </p:sp>
    </p:spTree>
    <p:extLst>
      <p:ext uri="{BB962C8B-B14F-4D97-AF65-F5344CB8AC3E}">
        <p14:creationId xmlns:p14="http://schemas.microsoft.com/office/powerpoint/2010/main" val="1900341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kern="1200" cap="all" spc="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25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9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13" Type="http://schemas.openxmlformats.org/officeDocument/2006/relationships/image" Target="../media/image33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27.jpeg"/><Relationship Id="rId12" Type="http://schemas.openxmlformats.org/officeDocument/2006/relationships/image" Target="../media/image3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hyperlink" Target="https://github.com/alexfettermann/MDT/blob/main/DS/MDT-EAD-graficos.ipynb" TargetMode="External"/><Relationship Id="rId11" Type="http://schemas.openxmlformats.org/officeDocument/2006/relationships/image" Target="../media/image31.png"/><Relationship Id="rId5" Type="http://schemas.openxmlformats.org/officeDocument/2006/relationships/image" Target="../media/image12.emf"/><Relationship Id="rId10" Type="http://schemas.openxmlformats.org/officeDocument/2006/relationships/image" Target="../media/image30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35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2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image" Target="../media/image3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3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3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40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41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6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42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7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6" Type="http://schemas.openxmlformats.org/officeDocument/2006/relationships/image" Target="../media/image4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8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6" Type="http://schemas.openxmlformats.org/officeDocument/2006/relationships/image" Target="../media/image44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9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6" Type="http://schemas.openxmlformats.org/officeDocument/2006/relationships/image" Target="../media/image45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0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6.jpg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5.jpeg"/><Relationship Id="rId11" Type="http://schemas.openxmlformats.org/officeDocument/2006/relationships/image" Target="../media/image10.jpg"/><Relationship Id="rId5" Type="http://schemas.openxmlformats.org/officeDocument/2006/relationships/image" Target="../media/image1.emf"/><Relationship Id="rId10" Type="http://schemas.openxmlformats.org/officeDocument/2006/relationships/image" Target="../media/image9.jp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jp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hyperlink" Target="https://en.wikipedia.org/wiki/File:SpaceX_Demo-2_Launch_(NHQ202005300044)_(cropped).jpg" TargetMode="Externa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.bin"/><Relationship Id="rId9" Type="http://schemas.openxmlformats.org/officeDocument/2006/relationships/hyperlink" Target="https://en.wikipedia.org/wiki/Falcon_9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hyperlink" Target="https://en.wikipedia.org/wiki/Falcon_9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15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6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hyperlink" Target="https://en.wikipedia.org/wiki/Falcon_9" TargetMode="Externa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verse.com/innovation/spacex-elon-musk-falcon-9-economics#:~:text=SpaceX%27s%20website%20lists%20the%20standard%20payment%20plan%20for,5%20launch%2C%20Musk%20broke%20down%20the%20costs%20again." TargetMode="External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8.gi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17.gif"/><Relationship Id="rId5" Type="http://schemas.openxmlformats.org/officeDocument/2006/relationships/image" Target="../media/image12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57D393F-E383-C6AB-2FA6-F393AF478B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1244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7D393F-E383-C6AB-2FA6-F393AF478B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33E93247-6229-44AB-A550-739E971E69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Imagem 3" descr="Gráfico circular em amarelo, azul e vermelho feito de blocos de madeira 33 por cento.">
            <a:extLst>
              <a:ext uri="{FF2B5EF4-FFF2-40B4-BE49-F238E27FC236}">
                <a16:creationId xmlns:a16="http://schemas.microsoft.com/office/drawing/2014/main" id="{1B7A4EF1-CC80-492C-B1B7-7C007995EDC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7132" r="25990"/>
          <a:stretch/>
        </p:blipFill>
        <p:spPr>
          <a:xfrm>
            <a:off x="6754360" y="500514"/>
            <a:ext cx="5437639" cy="6357485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DF456A82-D88F-0067-69EC-988CBED2B8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3400" y="908651"/>
            <a:ext cx="4937004" cy="4058682"/>
          </a:xfrm>
        </p:spPr>
        <p:txBody>
          <a:bodyPr vert="horz" anchor="t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pt-BR" sz="4600" dirty="0"/>
              <a:t>TRABALHO FINAL DE CIÊNCIA DE DADOS: </a:t>
            </a:r>
            <a:r>
              <a:rPr lang="pt-BR" sz="4600" i="1" dirty="0"/>
              <a:t>“</a:t>
            </a:r>
            <a:r>
              <a:rPr lang="pt-BR" sz="4000" i="1" dirty="0"/>
              <a:t>Previsão de Pouso do Primeiro Estágio do Falcon 9 da </a:t>
            </a:r>
            <a:r>
              <a:rPr lang="pt-BR" sz="4000" i="1" dirty="0" err="1"/>
              <a:t>spaceX</a:t>
            </a:r>
            <a:r>
              <a:rPr lang="pt-BR" sz="4000" i="1" dirty="0"/>
              <a:t>”</a:t>
            </a:r>
            <a:endParaRPr lang="pt-BR" sz="3100" i="1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D9AE532-A2E2-CEE1-1D4E-E81C15F689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3400" y="5103862"/>
            <a:ext cx="4172757" cy="845487"/>
          </a:xfrm>
        </p:spPr>
        <p:txBody>
          <a:bodyPr anchor="b">
            <a:normAutofit/>
          </a:bodyPr>
          <a:lstStyle/>
          <a:p>
            <a:r>
              <a:rPr lang="pt-BR" dirty="0"/>
              <a:t>NOV/2024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E2E603F-4A95-4FE8-BB06-211DFD75DB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723900"/>
            <a:ext cx="1638300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Instituto ECOA PUC-Rio">
            <a:extLst>
              <a:ext uri="{FF2B5EF4-FFF2-40B4-BE49-F238E27FC236}">
                <a16:creationId xmlns:a16="http://schemas.microsoft.com/office/drawing/2014/main" id="{97031AF0-F590-75E5-EE82-61C10B474D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2767" y="0"/>
            <a:ext cx="4227194" cy="1160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48952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1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  <p:bldP spid="3" grpId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4F9B95-9045-48D2-B9F3-2927E98F5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723900"/>
            <a:ext cx="10591800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85AA86F-6A4D-4BCB-A045-D992CDC295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10591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660EB578-C970-4186-B93C-45851BBC6E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código binário de programa abstrato e banco de dados de cubo de matriz colorida">
            <a:extLst>
              <a:ext uri="{FF2B5EF4-FFF2-40B4-BE49-F238E27FC236}">
                <a16:creationId xmlns:a16="http://schemas.microsoft.com/office/drawing/2014/main" id="{AB3B8041-B494-4303-BAEA-F5E0D0373D8A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rcRect l="55407" r="7277"/>
          <a:stretch/>
        </p:blipFill>
        <p:spPr>
          <a:xfrm>
            <a:off x="20" y="-17929"/>
            <a:ext cx="4206220" cy="687592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3AC3ED1A-808E-5D96-ED3F-8AB9FACB0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6968" y="914400"/>
            <a:ext cx="6627924" cy="130759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3700"/>
              <a:t>Limpeza e pré-processamento dos dado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4D64EDD-D581-9269-084D-B89DF3FA05CF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4866968" y="2221992"/>
            <a:ext cx="6627924" cy="3739896"/>
          </a:xfrm>
        </p:spPr>
        <p:txBody>
          <a:bodyPr>
            <a:normAutofit/>
          </a:bodyPr>
          <a:lstStyle/>
          <a:p>
            <a:pPr marL="0" indent="0">
              <a:spcBef>
                <a:spcPts val="2500"/>
              </a:spcBef>
              <a:buNone/>
            </a:pPr>
            <a:r>
              <a:rPr lang="pt-BR" sz="1400" b="1" dirty="0"/>
              <a:t>Remoção de valores ausentes e outliers</a:t>
            </a:r>
          </a:p>
          <a:p>
            <a:pPr marL="0" lvl="1" indent="0">
              <a:buNone/>
            </a:pPr>
            <a:r>
              <a:rPr lang="pt-BR" sz="1400" dirty="0"/>
              <a:t>A remoção de valores ausentes e outliers é uma etapa importante no pré-processamento de dados. Essa etapa pode melhorar a qualidade dos dados e reduzir o impacto negativo dos outliers na análise de dados.</a:t>
            </a:r>
          </a:p>
          <a:p>
            <a:pPr marL="0" indent="0">
              <a:spcBef>
                <a:spcPts val="2500"/>
              </a:spcBef>
              <a:buNone/>
            </a:pPr>
            <a:r>
              <a:rPr lang="pt-BR" sz="1400" b="1" dirty="0"/>
              <a:t>Normalização dos dados</a:t>
            </a:r>
          </a:p>
          <a:p>
            <a:pPr marL="0" lvl="1" indent="0">
              <a:buNone/>
            </a:pPr>
            <a:r>
              <a:rPr lang="pt-BR" sz="1400" dirty="0"/>
              <a:t>A normalização dos dados é uma etapa importante para garantir que os dados estejam na mesma escala e para evitar que recursos com uma escala maior dominem a análise de dados.</a:t>
            </a:r>
          </a:p>
          <a:p>
            <a:pPr marL="0" indent="0">
              <a:spcBef>
                <a:spcPts val="2500"/>
              </a:spcBef>
              <a:buNone/>
            </a:pPr>
            <a:r>
              <a:rPr lang="pt-BR" sz="1400" b="1" dirty="0"/>
              <a:t>Seleção de recursos relevantes</a:t>
            </a:r>
          </a:p>
          <a:p>
            <a:pPr marL="0" lvl="1" indent="0">
              <a:buNone/>
            </a:pPr>
            <a:r>
              <a:rPr lang="pt-BR" sz="1400" dirty="0"/>
              <a:t>A seleção de recursos relevantes é importante para reduzir a dimensionalidade dos dados e para garantir que apenas os recursos relevantes sejam usados na análise de dados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DF57B02-07BB-407B-BB36-06D9C64A67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917665" y="722376"/>
            <a:ext cx="6476356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6855964-C920-48EB-8804-74291211C8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917665" y="6144768"/>
            <a:ext cx="647635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927077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4F9B95-9045-48D2-B9F3-2927E98F5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723900"/>
            <a:ext cx="10591800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85AA86F-6A4D-4BCB-A045-D992CDC295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10591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E49D7415-2F11-44C2-B6AA-13A25B6814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sto MT"/>
              <a:ea typeface="+mn-ea"/>
              <a:cs typeface="+mn-cs"/>
            </a:endParaRPr>
          </a:p>
        </p:txBody>
      </p:sp>
      <p:pic>
        <p:nvPicPr>
          <p:cNvPr id="5" name="Espaço Reservado para Conteúdo 4" descr="GraphSimilar:">
            <a:extLst>
              <a:ext uri="{FF2B5EF4-FFF2-40B4-BE49-F238E27FC236}">
                <a16:creationId xmlns:a16="http://schemas.microsoft.com/office/drawing/2014/main" id="{97BE58CC-5B53-437D-84F3-116AD735AB29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rcRect l="9188" r="2707"/>
          <a:stretch/>
        </p:blipFill>
        <p:spPr>
          <a:xfrm>
            <a:off x="-1" y="10"/>
            <a:ext cx="8056345" cy="68579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30E9E86-95C4-882E-C2E6-0027EA5D7A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2507" y="1358671"/>
            <a:ext cx="2843711" cy="149332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500"/>
              <a:t>Tratamento de Valores Ausentes e Outlier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53D72407-0C7A-31B2-1CFA-0FF81C8224B0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8652509" y="3359338"/>
            <a:ext cx="2843711" cy="2862072"/>
          </a:xfrm>
        </p:spPr>
        <p:txBody>
          <a:bodyPr>
            <a:normAutofit/>
          </a:bodyPr>
          <a:lstStyle/>
          <a:p>
            <a:pPr marL="0" indent="0">
              <a:spcBef>
                <a:spcPts val="2500"/>
              </a:spcBef>
              <a:buNone/>
            </a:pPr>
            <a:endParaRPr lang="pt-BR" sz="1400" b="1"/>
          </a:p>
          <a:p>
            <a:pPr marL="0" lvl="1" indent="0">
              <a:buNone/>
            </a:pPr>
            <a:r>
              <a:rPr lang="pt-BR" sz="1400"/>
              <a:t>A presença de valores ausentes e outliers pode afetar a qualidade da análise de dados e levar a conclusões errôneas. É importante identificar e tratar esses valores antes de realizar qualquer análise exploratória de dados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11FC409-B3C2-4F68-865C-C5333D6F27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741170" y="1172935"/>
            <a:ext cx="2653318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810270D-76A7-44B3-9746-7EDF578860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741170" y="3105667"/>
            <a:ext cx="265331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021462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7BA5212-A92B-7083-CAD1-6E59482F9A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929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85" imgH="385" progId="TCLayout.ActiveDocument.1">
                  <p:embed/>
                </p:oleObj>
              </mc:Choice>
              <mc:Fallback>
                <p:oleObj name="Slide do think-cell" r:id="rId4" imgW="385" imgH="38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BA5212-A92B-7083-CAD1-6E59482F9A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64F9B95-9045-48D2-B9F3-2927E98F5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723900"/>
            <a:ext cx="10591800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85AA86F-6A4D-4BCB-A045-D992CDC295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10591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DEF92653-5D6D-47E6-8744-0DAF76E049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sto MT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219E5E74-9587-659B-6A2C-CA14F7C08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4" y="1145308"/>
            <a:ext cx="7600263" cy="4860947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7600" dirty="0" err="1"/>
              <a:t>Análise</a:t>
            </a:r>
            <a:r>
              <a:rPr lang="en-US" sz="7600" dirty="0"/>
              <a:t> </a:t>
            </a:r>
            <a:r>
              <a:rPr lang="en-US" sz="7600" dirty="0" err="1"/>
              <a:t>Exploratória</a:t>
            </a:r>
            <a:r>
              <a:rPr lang="en-US" sz="7600" dirty="0"/>
              <a:t> de Dados (AED)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7CEFA70-4D11-644F-D4FB-AFFE8747EC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755420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323123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wd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4F9B95-9045-48D2-B9F3-2927E98F5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723900"/>
            <a:ext cx="10591800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85AA86F-6A4D-4BCB-A045-D992CDC295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10591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E49D7415-2F11-44C2-B6AA-13A25B6814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Gráfico financeiro digital">
            <a:extLst>
              <a:ext uri="{FF2B5EF4-FFF2-40B4-BE49-F238E27FC236}">
                <a16:creationId xmlns:a16="http://schemas.microsoft.com/office/drawing/2014/main" id="{D55237E4-BFA6-4B85-9DAD-9CA775CD668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rcRect l="31514" r="18911"/>
          <a:stretch/>
        </p:blipFill>
        <p:spPr>
          <a:xfrm>
            <a:off x="20" y="10"/>
            <a:ext cx="6044164" cy="68579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63FB4147-EB2C-3E8D-2BBD-8808FD7E42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6186" y="909637"/>
            <a:ext cx="4800600" cy="130759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US" dirty="0" err="1"/>
              <a:t>Definição</a:t>
            </a:r>
            <a:r>
              <a:rPr lang="en-US" dirty="0"/>
              <a:t> e </a:t>
            </a:r>
            <a:r>
              <a:rPr lang="en-US" dirty="0" err="1"/>
              <a:t>objetivo</a:t>
            </a:r>
            <a:r>
              <a:rPr lang="en-US" dirty="0"/>
              <a:t> da AED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2F562957-8BBF-6A0F-FAC0-EDF3510B667D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6696186" y="2221992"/>
            <a:ext cx="4800600" cy="3739896"/>
          </a:xfrm>
        </p:spPr>
        <p:txBody>
          <a:bodyPr>
            <a:normAutofit/>
          </a:bodyPr>
          <a:lstStyle/>
          <a:p>
            <a:pPr marL="0" indent="0">
              <a:spcBef>
                <a:spcPts val="2500"/>
              </a:spcBef>
              <a:buNone/>
            </a:pPr>
            <a:r>
              <a:rPr lang="pt-BR" sz="1400" b="1" dirty="0"/>
              <a:t>Definição da AED</a:t>
            </a:r>
          </a:p>
          <a:p>
            <a:pPr marL="0" lvl="1" indent="0">
              <a:buNone/>
            </a:pPr>
            <a:r>
              <a:rPr lang="pt-BR" sz="1400" dirty="0"/>
              <a:t>A Análise de Exploração de Dados (AED) é uma abordagem para analisar dados e encontrar padrões, tendências, relações e anomalias.</a:t>
            </a:r>
          </a:p>
          <a:p>
            <a:pPr marL="0" indent="0">
              <a:spcBef>
                <a:spcPts val="2500"/>
              </a:spcBef>
              <a:buNone/>
            </a:pPr>
            <a:r>
              <a:rPr lang="pt-BR" sz="1400" b="1" dirty="0"/>
              <a:t>Objetivo da AED</a:t>
            </a:r>
          </a:p>
          <a:p>
            <a:pPr marL="0" lvl="1" indent="0">
              <a:buNone/>
            </a:pPr>
            <a:r>
              <a:rPr lang="pt-BR" sz="1400" dirty="0"/>
              <a:t>O objetivo da AED é entender os dados e encontrar insights que possam ser usados para tomar decisões informadas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11FC409-B3C2-4F68-865C-C5333D6F27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781300" y="723900"/>
            <a:ext cx="4610075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810270D-76A7-44B3-9746-7EDF578860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781300" y="6142781"/>
            <a:ext cx="46100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368731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4F9B95-9045-48D2-B9F3-2927E98F5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723900"/>
            <a:ext cx="10591800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85AA86F-6A4D-4BCB-A045-D992CDC295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10591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E49D7415-2F11-44C2-B6AA-13A25B6814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sto MT"/>
              <a:ea typeface="+mn-ea"/>
              <a:cs typeface="+mn-cs"/>
            </a:endParaRPr>
          </a:p>
        </p:txBody>
      </p:sp>
      <p:pic>
        <p:nvPicPr>
          <p:cNvPr id="5" name="Espaço Reservado para Conteúdo 4" descr="Digerir esses fatos e números ... Interpretação literal do almoço de negócios.">
            <a:extLst>
              <a:ext uri="{FF2B5EF4-FFF2-40B4-BE49-F238E27FC236}">
                <a16:creationId xmlns:a16="http://schemas.microsoft.com/office/drawing/2014/main" id="{FC783927-18C2-488A-BE8C-C76AF7B4ABBF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rcRect l="14171" r="7414" b="-1"/>
          <a:stretch/>
        </p:blipFill>
        <p:spPr>
          <a:xfrm>
            <a:off x="-1" y="10"/>
            <a:ext cx="8056345" cy="68579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D38A50D5-562B-8783-8B7B-932AEF8E1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2507" y="1358671"/>
            <a:ext cx="2843711" cy="149332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300"/>
              <a:t>Importância na ciência de dado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7528527-74B4-EA88-5E90-58B06540F2F9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8652509" y="3359338"/>
            <a:ext cx="2843711" cy="2862072"/>
          </a:xfrm>
        </p:spPr>
        <p:txBody>
          <a:bodyPr>
            <a:normAutofit/>
          </a:bodyPr>
          <a:lstStyle/>
          <a:p>
            <a:pPr marL="0" indent="0">
              <a:spcBef>
                <a:spcPts val="2500"/>
              </a:spcBef>
              <a:buNone/>
            </a:pPr>
            <a:endParaRPr lang="pt-BR" sz="1400" b="1"/>
          </a:p>
          <a:p>
            <a:pPr marL="0" lvl="1" indent="0">
              <a:buNone/>
            </a:pPr>
            <a:r>
              <a:rPr lang="pt-BR" sz="1400"/>
              <a:t>A análise exploratória de dados é uma etapa fundamental na ciência de dados, que ajuda a entender os dados e descobrir insights para tomar decisões informadas e construir modelos precisos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11FC409-B3C2-4F68-865C-C5333D6F27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741170" y="1172935"/>
            <a:ext cx="2653318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810270D-76A7-44B3-9746-7EDF578860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741170" y="3105667"/>
            <a:ext cx="265331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269242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4F9B95-9045-48D2-B9F3-2927E98F5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723900"/>
            <a:ext cx="10591800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85AA86F-6A4D-4BCB-A045-D992CDC295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10591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E49D7415-2F11-44C2-B6AA-13A25B6814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gráficos e tabelas Análise de dados financeirosPor favor, veja algumas fotos semelhantes da minha lightbox:">
            <a:extLst>
              <a:ext uri="{FF2B5EF4-FFF2-40B4-BE49-F238E27FC236}">
                <a16:creationId xmlns:a16="http://schemas.microsoft.com/office/drawing/2014/main" id="{46076731-9025-4DF7-8878-59FFE57F8E5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rcRect l="11896" r="20171" b="-3"/>
          <a:stretch/>
        </p:blipFill>
        <p:spPr>
          <a:xfrm>
            <a:off x="804673" y="3044952"/>
            <a:ext cx="3024378" cy="29718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72EE213D-FA4A-5CE8-E6AC-8178B39B01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087" y="914400"/>
            <a:ext cx="3095616" cy="1928741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Principais etapas e técnica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0B5EF84B-A4A4-5FCC-1B95-4F5679F15A7C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4274820" y="968377"/>
            <a:ext cx="7201797" cy="5006436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2500"/>
              </a:spcBef>
              <a:buNone/>
            </a:pPr>
            <a:r>
              <a:rPr lang="pt-BR" sz="1400" b="1" dirty="0"/>
              <a:t>Coleta e Preparação de Dados</a:t>
            </a:r>
          </a:p>
          <a:p>
            <a:pPr marL="0" lvl="1" indent="0">
              <a:lnSpc>
                <a:spcPct val="100000"/>
              </a:lnSpc>
              <a:buNone/>
            </a:pPr>
            <a:r>
              <a:rPr lang="pt-BR" sz="1400" dirty="0"/>
              <a:t>A coleta e preparação de dados são etapas fundamentais na Análise Exploratória de Dados (AED). É importante garantir a qualidade dos dados antes da análise propriamente dita. Essas etapas incluem limpeza, transformação e estruturação de dados.</a:t>
            </a:r>
          </a:p>
          <a:p>
            <a:pPr marL="0" indent="0">
              <a:lnSpc>
                <a:spcPct val="100000"/>
              </a:lnSpc>
              <a:spcBef>
                <a:spcPts val="2500"/>
              </a:spcBef>
              <a:buNone/>
            </a:pPr>
            <a:r>
              <a:rPr lang="pt-BR" sz="1400" b="1" dirty="0"/>
              <a:t>Visualização de Dados</a:t>
            </a:r>
          </a:p>
          <a:p>
            <a:pPr marL="0" lvl="1" indent="0">
              <a:lnSpc>
                <a:spcPct val="100000"/>
              </a:lnSpc>
              <a:buNone/>
            </a:pPr>
            <a:r>
              <a:rPr lang="pt-BR" sz="1400" dirty="0"/>
              <a:t>A visualização de dados é uma técnica essencial na AED. Gráficos e tabelas permitem uma melhor compreensão dos dados e podem ajudar a identificar padrões, tendências e anomalias.</a:t>
            </a:r>
          </a:p>
          <a:p>
            <a:pPr marL="0" indent="0">
              <a:lnSpc>
                <a:spcPct val="100000"/>
              </a:lnSpc>
              <a:spcBef>
                <a:spcPts val="2500"/>
              </a:spcBef>
              <a:buNone/>
            </a:pPr>
            <a:r>
              <a:rPr lang="pt-BR" sz="1400" b="1" dirty="0"/>
              <a:t>Análise Estatística Descritiva</a:t>
            </a:r>
          </a:p>
          <a:p>
            <a:pPr marL="0" lvl="1" indent="0">
              <a:lnSpc>
                <a:spcPct val="100000"/>
              </a:lnSpc>
              <a:buNone/>
            </a:pPr>
            <a:r>
              <a:rPr lang="pt-BR" sz="1400" dirty="0"/>
              <a:t>A análise estatística descritiva é a etapa em que se realiza o resumo e a descrição dos dados coletados, usando medidas de tendência central, medidas de dispersão e outras técnicas estatísticas.</a:t>
            </a:r>
          </a:p>
          <a:p>
            <a:pPr marL="0" indent="0">
              <a:lnSpc>
                <a:spcPct val="100000"/>
              </a:lnSpc>
              <a:spcBef>
                <a:spcPts val="2500"/>
              </a:spcBef>
              <a:buNone/>
            </a:pPr>
            <a:r>
              <a:rPr lang="pt-BR" sz="1400" b="1" dirty="0"/>
              <a:t>Estudo de Correlações e Relações</a:t>
            </a:r>
          </a:p>
          <a:p>
            <a:pPr marL="0" lvl="1" indent="0">
              <a:lnSpc>
                <a:spcPct val="100000"/>
              </a:lnSpc>
              <a:buNone/>
            </a:pPr>
            <a:r>
              <a:rPr lang="pt-BR" sz="1400" dirty="0"/>
              <a:t>O estudo de correlações e relações é a etapa em que se busca identificar as relações entre as variáveis de interesse. Matrizes de correlação e análise de correlação são técnicas comumente utilizadas nessa etapa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E57F3D-33BE-4306-87E6-2457637195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4672" y="723900"/>
            <a:ext cx="10588752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E0104E4-99BC-494F-8342-F250828E57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9065" y="6145599"/>
            <a:ext cx="1058283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532784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64F9B95-9045-48D2-B9F3-2927E98F5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723900"/>
            <a:ext cx="10591800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85AA86F-6A4D-4BCB-A045-D992CDC295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10591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DEF92653-5D6D-47E6-8744-0DAF76E049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sto MT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27DE5D73-2179-D609-D35B-9852FB3BA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4" y="1145308"/>
            <a:ext cx="7600263" cy="4860947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7600"/>
              <a:t>Técnicas de Visualização de Dado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7CEFA70-4D11-644F-D4FB-AFFE8747EC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755420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849034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29DF600-4246-0D1A-5698-E0F46AD2E4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763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85" imgH="385" progId="TCLayout.ActiveDocument.1">
                  <p:embed/>
                </p:oleObj>
              </mc:Choice>
              <mc:Fallback>
                <p:oleObj name="Slide do think-cell" r:id="rId4" imgW="385" imgH="38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9DF600-4246-0D1A-5698-E0F46AD2E4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4F9B95-9045-48D2-B9F3-2927E98F5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723900"/>
            <a:ext cx="10591800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85AA86F-6A4D-4BCB-A045-D992CDC295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10591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E49D7415-2F11-44C2-B6AA-13A25B6814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Gráficos financeiros em uma tela escura">
            <a:extLst>
              <a:ext uri="{FF2B5EF4-FFF2-40B4-BE49-F238E27FC236}">
                <a16:creationId xmlns:a16="http://schemas.microsoft.com/office/drawing/2014/main" id="{72ECF574-93FF-4416-AFF5-0FF937C94B3C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6"/>
          <a:srcRect l="7035" r="10079" b="-2"/>
          <a:stretch/>
        </p:blipFill>
        <p:spPr>
          <a:xfrm>
            <a:off x="804672" y="3044952"/>
            <a:ext cx="3941064" cy="29718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34945AD8-F6E0-B380-E1EC-68B0E8140B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087" y="914400"/>
            <a:ext cx="4041648" cy="1928741"/>
          </a:xfrm>
        </p:spPr>
        <p:txBody>
          <a:bodyPr vert="horz" lIns="91440" tIns="45720" rIns="91440" bIns="45720" rtlCol="0" anchor="t">
            <a:normAutofit fontScale="90000"/>
          </a:bodyPr>
          <a:lstStyle/>
          <a:p>
            <a:r>
              <a:rPr lang="en-US" dirty="0"/>
              <a:t>PRINCIPAIS </a:t>
            </a:r>
            <a:r>
              <a:rPr lang="en-US" dirty="0" err="1"/>
              <a:t>Gráficos</a:t>
            </a:r>
            <a:r>
              <a:rPr lang="en-US" dirty="0"/>
              <a:t> e </a:t>
            </a:r>
            <a:r>
              <a:rPr lang="en-US" dirty="0" err="1"/>
              <a:t>suas</a:t>
            </a:r>
            <a:r>
              <a:rPr lang="en-US" dirty="0"/>
              <a:t> </a:t>
            </a:r>
            <a:r>
              <a:rPr lang="en-US" dirty="0" err="1"/>
              <a:t>aplicações</a:t>
            </a:r>
            <a:endParaRPr lang="en-US" dirty="0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34ADF2D6-563F-D6C0-88E0-EC6B13FB9409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5242560" y="1010316"/>
            <a:ext cx="6144768" cy="5006436"/>
          </a:xfrm>
        </p:spPr>
        <p:txBody>
          <a:bodyPr>
            <a:normAutofit fontScale="77500" lnSpcReduction="20000"/>
          </a:bodyPr>
          <a:lstStyle/>
          <a:p>
            <a:pPr marL="0" indent="0">
              <a:spcBef>
                <a:spcPts val="2500"/>
              </a:spcBef>
              <a:buNone/>
            </a:pPr>
            <a:r>
              <a:rPr lang="pt-BR" sz="1800" b="1" dirty="0"/>
              <a:t>Gráficos de linhas</a:t>
            </a:r>
          </a:p>
          <a:p>
            <a:pPr marL="0" lvl="1" indent="0">
              <a:buNone/>
            </a:pPr>
            <a:r>
              <a:rPr lang="pt-BR" sz="1400" dirty="0"/>
              <a:t>Os gráficos de linhas são usados para mostrar tendências ao longo do tempo ou em dados que mudam continuamente. Eles podem ser usados para comparar várias séries.</a:t>
            </a:r>
          </a:p>
          <a:p>
            <a:pPr marL="0" indent="0">
              <a:spcBef>
                <a:spcPts val="2500"/>
              </a:spcBef>
              <a:buNone/>
            </a:pPr>
            <a:r>
              <a:rPr lang="pt-BR" sz="1800" b="1" dirty="0"/>
              <a:t>Histogramas</a:t>
            </a:r>
          </a:p>
          <a:p>
            <a:pPr marL="0" lvl="1" indent="0">
              <a:buNone/>
            </a:pPr>
            <a:r>
              <a:rPr lang="pt-BR" sz="1400" dirty="0"/>
              <a:t>Os histogramas são uma forma de gráfico de barras que mostra a distribuição dos dados em intervalos. Eles ajudam a visualizar a forma da distribuição e a identificar outliers.</a:t>
            </a:r>
          </a:p>
          <a:p>
            <a:pPr marL="0" indent="0">
              <a:spcBef>
                <a:spcPts val="2500"/>
              </a:spcBef>
              <a:buNone/>
            </a:pPr>
            <a:r>
              <a:rPr lang="pt-BR" sz="1800" b="1" dirty="0"/>
              <a:t>Gráficos de dispersão</a:t>
            </a:r>
          </a:p>
          <a:p>
            <a:pPr marL="0" lvl="1" indent="0">
              <a:buNone/>
            </a:pPr>
            <a:r>
              <a:rPr lang="pt-BR" sz="1400" dirty="0"/>
              <a:t>Os gráficos de dispersão são usados para mostrar a relação entre duas variáveis. Eles podem ajudar a identificar padrões, outliers e anomalias.</a:t>
            </a:r>
          </a:p>
          <a:p>
            <a:pPr marL="0" indent="0">
              <a:spcBef>
                <a:spcPts val="2500"/>
              </a:spcBef>
              <a:buNone/>
            </a:pPr>
            <a:r>
              <a:rPr lang="pt-BR" sz="1800" b="1" dirty="0"/>
              <a:t>Box-</a:t>
            </a:r>
            <a:r>
              <a:rPr lang="pt-BR" sz="1800" b="1" dirty="0" err="1"/>
              <a:t>plot</a:t>
            </a:r>
            <a:endParaRPr lang="pt-BR" sz="1800" b="1" dirty="0"/>
          </a:p>
          <a:p>
            <a:pPr marL="0" lvl="1" indent="0">
              <a:buNone/>
            </a:pPr>
            <a:r>
              <a:rPr lang="pt-BR" sz="1400" dirty="0"/>
              <a:t>O gráfico tipo box-</a:t>
            </a:r>
            <a:r>
              <a:rPr lang="pt-BR" sz="1400" dirty="0" err="1"/>
              <a:t>plot</a:t>
            </a:r>
            <a:r>
              <a:rPr lang="pt-BR" sz="1400" dirty="0"/>
              <a:t>, ou diagrama de caixa, é crucial para visualizar a distribuição de um conjunto de dados, evidenciando a mediana, quartis e possíveis outliers. Ele permite comparações eficientes entre diferentes grupos e facilita a identificação de variabilidade e simetria dos dados.</a:t>
            </a:r>
          </a:p>
          <a:p>
            <a:pPr marL="0" lvl="1" indent="0">
              <a:spcBef>
                <a:spcPts val="2500"/>
              </a:spcBef>
              <a:buNone/>
            </a:pPr>
            <a:r>
              <a:rPr lang="pt-BR" b="1" dirty="0" err="1"/>
              <a:t>Violin</a:t>
            </a:r>
            <a:endParaRPr lang="pt-BR" b="1" dirty="0"/>
          </a:p>
          <a:p>
            <a:pPr marL="0" lvl="1" indent="0">
              <a:buNone/>
            </a:pPr>
            <a:r>
              <a:rPr lang="pt-BR" sz="1400" dirty="0"/>
              <a:t>O gráfico tipo </a:t>
            </a:r>
            <a:r>
              <a:rPr lang="pt-BR" sz="1400" dirty="0" err="1"/>
              <a:t>violin</a:t>
            </a:r>
            <a:r>
              <a:rPr lang="pt-BR" sz="1400" dirty="0"/>
              <a:t> combina os recursos do box-</a:t>
            </a:r>
            <a:r>
              <a:rPr lang="pt-BR" sz="1400" dirty="0" err="1"/>
              <a:t>plot</a:t>
            </a:r>
            <a:r>
              <a:rPr lang="pt-BR" sz="1400" dirty="0"/>
              <a:t> e dos gráficos de densidade, proporcionando uma visualização detalhada da distribuição de dados. Ele é especialmente útil para comparar múltiplos grupos, destacando não apenas a localização central e dispersão, mas também a forma da distribuição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E57F3D-33BE-4306-87E6-2457637195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4672" y="723900"/>
            <a:ext cx="10588752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E0104E4-99BC-494F-8342-F250828E57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9065" y="6145599"/>
            <a:ext cx="1058283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657993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4F9B95-9045-48D2-B9F3-2927E98F5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723900"/>
            <a:ext cx="10591800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85AA86F-6A4D-4BCB-A045-D992CDC295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10591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E49D7415-2F11-44C2-B6AA-13A25B6814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sto MT"/>
              <a:ea typeface="+mn-ea"/>
              <a:cs typeface="+mn-cs"/>
            </a:endParaRPr>
          </a:p>
        </p:txBody>
      </p:sp>
      <p:pic>
        <p:nvPicPr>
          <p:cNvPr id="5" name="Espaço Reservado para Conteúdo 4" descr="Uma renderização 3D de um crash do mercado de ações durante um mercado volátil devido à pandemia de covid-19.">
            <a:extLst>
              <a:ext uri="{FF2B5EF4-FFF2-40B4-BE49-F238E27FC236}">
                <a16:creationId xmlns:a16="http://schemas.microsoft.com/office/drawing/2014/main" id="{4BC7BEDD-2ADC-4B73-BF5B-EDD9AE04CE3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rcRect l="978" r="15028"/>
          <a:stretch/>
        </p:blipFill>
        <p:spPr>
          <a:xfrm>
            <a:off x="-1" y="10"/>
            <a:ext cx="8056345" cy="68579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4B5BBD95-0B63-9F7C-99B9-2DB43619D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2507" y="1358671"/>
            <a:ext cx="2843711" cy="149332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800"/>
              <a:t>Interpretação de gráficos e diagrama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E4148CB-0ABB-C34A-8084-FEAE156F5F3F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8652509" y="3359338"/>
            <a:ext cx="2843711" cy="2862072"/>
          </a:xfrm>
        </p:spPr>
        <p:txBody>
          <a:bodyPr>
            <a:normAutofit/>
          </a:bodyPr>
          <a:lstStyle/>
          <a:p>
            <a:pPr marL="0" indent="0">
              <a:spcBef>
                <a:spcPts val="2500"/>
              </a:spcBef>
              <a:buNone/>
            </a:pPr>
            <a:endParaRPr lang="pt-BR" sz="1400" b="1"/>
          </a:p>
          <a:p>
            <a:pPr marL="0" lvl="1" indent="0">
              <a:buNone/>
            </a:pPr>
            <a:r>
              <a:rPr lang="pt-BR" sz="1400"/>
              <a:t>A interpretação correta de gráficos e diagramas é fundamental para a análise exploratória de dados. É importante saber como interpretar o eixo x e y, os rótulos de eixo, a legenda e as cores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11FC409-B3C2-4F68-865C-C5333D6F27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741170" y="1172935"/>
            <a:ext cx="2653318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810270D-76A7-44B3-9746-7EDF578860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741170" y="3105667"/>
            <a:ext cx="265331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257119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09147E4-1451-057C-D3D4-0DD146B59F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486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85" imgH="385" progId="TCLayout.ActiveDocument.1">
                  <p:embed/>
                </p:oleObj>
              </mc:Choice>
              <mc:Fallback>
                <p:oleObj name="Slide do think-cell" r:id="rId4" imgW="385" imgH="38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9147E4-1451-057C-D3D4-0DD146B59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64F9B95-9045-48D2-B9F3-2927E98F5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723900"/>
            <a:ext cx="10591800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85AA86F-6A4D-4BCB-A045-D992CDC295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10591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DEF92653-5D6D-47E6-8744-0DAF76E049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sto MT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B1432CA-6619-F95B-D5B0-F20ECFF7D3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4" y="1145308"/>
            <a:ext cx="7600263" cy="4860947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7600" dirty="0"/>
              <a:t>GRÁFICOS e DESCOBERTAS PARA O ESTUDO DE CASO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7CEFA70-4D11-644F-D4FB-AFFE8747EC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755420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478270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4F9B95-9045-48D2-B9F3-2927E98F5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723900"/>
            <a:ext cx="10591800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85AA86F-6A4D-4BCB-A045-D992CDC295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10591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E49D7415-2F11-44C2-B6AA-13A25B6814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Anlysis - mão isolada sobre branco. Um caminho desenhado no canto inferior esquerdo - depecting caminho certo vs. caminho errado">
            <a:extLst>
              <a:ext uri="{FF2B5EF4-FFF2-40B4-BE49-F238E27FC236}">
                <a16:creationId xmlns:a16="http://schemas.microsoft.com/office/drawing/2014/main" id="{971C07F6-7281-49E7-AE7B-33F6D7F8D6C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rcRect l="56075" r="2315" b="1"/>
          <a:stretch/>
        </p:blipFill>
        <p:spPr>
          <a:xfrm>
            <a:off x="8115300" y="10"/>
            <a:ext cx="4076700" cy="68579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9770E0CE-3777-BAE4-03B5-B3ACB9A2D3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088" y="914401"/>
            <a:ext cx="6766560" cy="130759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US" dirty="0" err="1"/>
              <a:t>Tópicos</a:t>
            </a:r>
            <a:r>
              <a:rPr lang="en-US" dirty="0"/>
              <a:t> a </a:t>
            </a:r>
            <a:r>
              <a:rPr lang="en-US" dirty="0" err="1"/>
              <a:t>serem</a:t>
            </a:r>
            <a:r>
              <a:rPr lang="en-US" dirty="0"/>
              <a:t> </a:t>
            </a:r>
            <a:r>
              <a:rPr lang="en-US" dirty="0" err="1"/>
              <a:t>abordados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E57F3D-33BE-4306-87E6-2457637195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723900"/>
            <a:ext cx="6583680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BA3C59D-8641-484F-A35C-361AD7E155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4768"/>
            <a:ext cx="658368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ço Reservado para Conteúdo 3">
            <a:extLst>
              <a:ext uri="{FF2B5EF4-FFF2-40B4-BE49-F238E27FC236}">
                <a16:creationId xmlns:a16="http://schemas.microsoft.com/office/drawing/2014/main" id="{634F33AD-E734-C7BE-0A50-0CDDDABEF9C2}"/>
              </a:ext>
            </a:extLst>
          </p:cNvPr>
          <p:cNvSpPr txBox="1">
            <a:spLocks/>
          </p:cNvSpPr>
          <p:nvPr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875899" y="2221993"/>
            <a:ext cx="6965693" cy="37398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2500"/>
              </a:spcBef>
              <a:buFont typeface="Arial" panose="020B0604020202020204" pitchFamily="34" charset="0"/>
              <a:buNone/>
            </a:pPr>
            <a:r>
              <a:rPr lang="pt-BR" sz="1400" b="1" dirty="0"/>
              <a:t>Escolha de um </a:t>
            </a:r>
            <a:r>
              <a:rPr lang="pt-BR" sz="1400" b="1" dirty="0" err="1"/>
              <a:t>dataset</a:t>
            </a:r>
            <a:endParaRPr lang="pt-BR" sz="1400" b="1" dirty="0"/>
          </a:p>
          <a:p>
            <a:pPr marL="0" lvl="1" indent="0">
              <a:buFont typeface="Arial" panose="020B0604020202020204" pitchFamily="34" charset="0"/>
              <a:buNone/>
            </a:pPr>
            <a:r>
              <a:rPr lang="pt-BR" sz="1400" dirty="0"/>
              <a:t>Explicar o </a:t>
            </a:r>
            <a:r>
              <a:rPr lang="pt-BR" sz="1400" dirty="0" err="1"/>
              <a:t>dataset</a:t>
            </a:r>
            <a:r>
              <a:rPr lang="pt-BR" sz="1400" dirty="0"/>
              <a:t> com provimento de fonte</a:t>
            </a:r>
          </a:p>
          <a:p>
            <a:pPr marL="0" indent="0">
              <a:spcBef>
                <a:spcPts val="2500"/>
              </a:spcBef>
              <a:buFont typeface="Arial" panose="020B0604020202020204" pitchFamily="34" charset="0"/>
              <a:buNone/>
            </a:pPr>
            <a:r>
              <a:rPr lang="pt-BR" sz="1400" b="1" dirty="0"/>
              <a:t>Data </a:t>
            </a:r>
            <a:r>
              <a:rPr lang="pt-BR" sz="1400" b="1" dirty="0" err="1"/>
              <a:t>profiling</a:t>
            </a:r>
            <a:endParaRPr lang="pt-BR" sz="1400" b="1" dirty="0"/>
          </a:p>
          <a:p>
            <a:pPr marL="0" lvl="1" indent="0">
              <a:buFont typeface="Arial" panose="020B0604020202020204" pitchFamily="34" charset="0"/>
              <a:buNone/>
            </a:pPr>
            <a:r>
              <a:rPr lang="pt-BR" sz="1400" dirty="0"/>
              <a:t>Remoção de valores ausentes e outliers, reportando os problemas</a:t>
            </a:r>
          </a:p>
          <a:p>
            <a:pPr marL="0" indent="0">
              <a:spcBef>
                <a:spcPts val="2500"/>
              </a:spcBef>
              <a:buNone/>
            </a:pPr>
            <a:r>
              <a:rPr lang="pt-BR" sz="1400" b="1" dirty="0"/>
              <a:t>Análise Exploratória de Dados (AED)</a:t>
            </a:r>
          </a:p>
          <a:p>
            <a:pPr marL="0" lvl="1" indent="0">
              <a:buNone/>
            </a:pPr>
            <a:r>
              <a:rPr lang="pt-BR" sz="1400" dirty="0"/>
              <a:t>Buscar através de gráficos conhecimentos e insights</a:t>
            </a:r>
          </a:p>
          <a:p>
            <a:pPr marL="0" indent="0">
              <a:spcBef>
                <a:spcPts val="2500"/>
              </a:spcBef>
              <a:buNone/>
            </a:pPr>
            <a:r>
              <a:rPr lang="pt-BR" sz="1400" b="1" dirty="0"/>
              <a:t>Recomendações e Conclusão</a:t>
            </a:r>
          </a:p>
          <a:p>
            <a:pPr marL="0" lvl="1" indent="0">
              <a:buNone/>
            </a:pPr>
            <a:r>
              <a:rPr lang="pt-BR" sz="1400" dirty="0"/>
              <a:t>Destacar fontes de valores identificadas e recomendar métodos preditivos a serem implementados que  sejam assertivos quanto ao sucesso do pouso ou não. Como veremos a seguir essa é uma questão fundamental para o negócio</a:t>
            </a:r>
          </a:p>
          <a:p>
            <a:pPr marL="0" lvl="1" indent="0">
              <a:buNone/>
            </a:pPr>
            <a:endParaRPr lang="pt-BR" sz="1400" dirty="0"/>
          </a:p>
          <a:p>
            <a:pPr marL="0" lvl="1" indent="0">
              <a:buFont typeface="Arial" panose="020B0604020202020204" pitchFamily="34" charset="0"/>
              <a:buNone/>
            </a:pPr>
            <a:endParaRPr lang="pt-BR" sz="1400" dirty="0"/>
          </a:p>
          <a:p>
            <a:pPr marL="0" lvl="1" indent="0">
              <a:buFont typeface="Arial" panose="020B0604020202020204" pitchFamily="34" charset="0"/>
              <a:buNone/>
            </a:pPr>
            <a:endParaRPr lang="pt-BR" sz="1400" dirty="0"/>
          </a:p>
          <a:p>
            <a:pPr marL="0" lvl="1" indent="0">
              <a:buFont typeface="Arial" panose="020B0604020202020204" pitchFamily="34" charset="0"/>
              <a:buNone/>
            </a:pPr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395018635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E9D0853-1A3D-FA80-06F4-A6B56952F9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1814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85" imgH="385" progId="TCLayout.ActiveDocument.1">
                  <p:embed/>
                </p:oleObj>
              </mc:Choice>
              <mc:Fallback>
                <p:oleObj name="Slide do think-cell" r:id="rId4" imgW="385" imgH="38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9D0853-1A3D-FA80-06F4-A6B56952F9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4F9B95-9045-48D2-B9F3-2927E98F5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723900"/>
            <a:ext cx="10591800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85AA86F-6A4D-4BCB-A045-D992CDC295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10591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660EB578-C970-4186-B93C-45851BBC6E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9CF30DF0-B300-1E31-95FA-EF5D76BD5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6968" y="914400"/>
            <a:ext cx="6627924" cy="71226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3700" dirty="0"/>
              <a:t>Ferramentas </a:t>
            </a:r>
            <a:r>
              <a:rPr lang="en-US" sz="3700" dirty="0" err="1"/>
              <a:t>utilizadas</a:t>
            </a:r>
            <a:endParaRPr lang="en-US" sz="3700" dirty="0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BAD6299D-FF7A-55B0-37EB-4643DF1FAD70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4866967" y="1612954"/>
            <a:ext cx="6627925" cy="3548977"/>
          </a:xfrm>
        </p:spPr>
        <p:txBody>
          <a:bodyPr>
            <a:noAutofit/>
          </a:bodyPr>
          <a:lstStyle/>
          <a:p>
            <a:pPr marL="0" indent="0" algn="just">
              <a:spcBef>
                <a:spcPts val="2500"/>
              </a:spcBef>
              <a:buNone/>
            </a:pPr>
            <a:r>
              <a:rPr lang="pt-BR" sz="1050" b="1" dirty="0"/>
              <a:t>Python</a:t>
            </a:r>
          </a:p>
          <a:p>
            <a:pPr marL="0" lvl="1" indent="0" algn="just">
              <a:buNone/>
            </a:pPr>
            <a:r>
              <a:rPr lang="pt-BR" sz="1050" dirty="0"/>
              <a:t>Python é uma linguagem de programação de alto nível e fácil de usar, usada em análise de dados devido à sua grande comunidade de desenvolvedores e bibliotecas poderosas como </a:t>
            </a:r>
            <a:r>
              <a:rPr lang="pt-BR" sz="1050" dirty="0" err="1"/>
              <a:t>NumPy</a:t>
            </a:r>
            <a:r>
              <a:rPr lang="pt-BR" sz="1050" dirty="0"/>
              <a:t> e Pandas.</a:t>
            </a:r>
          </a:p>
          <a:p>
            <a:pPr marL="0" lvl="1" indent="0" algn="just">
              <a:buNone/>
            </a:pPr>
            <a:r>
              <a:rPr lang="pt-BR" sz="1050" b="1" dirty="0"/>
              <a:t>VS Studio </a:t>
            </a:r>
            <a:r>
              <a:rPr lang="pt-BR" sz="1050" b="1" dirty="0" err="1"/>
              <a:t>Comunity</a:t>
            </a:r>
            <a:r>
              <a:rPr lang="pt-BR" sz="1050" b="1" dirty="0"/>
              <a:t> </a:t>
            </a:r>
            <a:r>
              <a:rPr lang="pt-BR" sz="1050" b="1" dirty="0" err="1"/>
              <a:t>Edition</a:t>
            </a:r>
            <a:r>
              <a:rPr lang="pt-BR" sz="1050" b="1" dirty="0"/>
              <a:t> </a:t>
            </a:r>
            <a:r>
              <a:rPr lang="pt-BR" sz="1050" dirty="0"/>
              <a:t>–  </a:t>
            </a:r>
            <a:r>
              <a:rPr lang="pt-BR" dirty="0"/>
              <a:t> </a:t>
            </a:r>
            <a:r>
              <a:rPr lang="pt-BR" sz="1050" dirty="0"/>
              <a:t>é um ambiente de desenvolvimento integrado (IDE) poderoso e versátil para desenvolvedores de software e equipes.</a:t>
            </a:r>
          </a:p>
          <a:p>
            <a:pPr marL="0" lvl="1" indent="0" algn="just">
              <a:buNone/>
            </a:pPr>
            <a:r>
              <a:rPr lang="pt-BR" sz="1050" b="1" dirty="0" err="1"/>
              <a:t>Jupyter</a:t>
            </a:r>
            <a:r>
              <a:rPr lang="pt-BR" sz="1050" b="1" dirty="0"/>
              <a:t> Notebooks </a:t>
            </a:r>
            <a:r>
              <a:rPr lang="pt-BR" sz="1050" dirty="0"/>
              <a:t>- </a:t>
            </a:r>
            <a:r>
              <a:rPr lang="pt-BR" dirty="0"/>
              <a:t> </a:t>
            </a:r>
            <a:r>
              <a:rPr lang="pt-BR" sz="1000" dirty="0"/>
              <a:t>é uma plataforma de computação interativa baseada na web que combina código ao vivo, equações, texto narrativo e visualizações</a:t>
            </a:r>
          </a:p>
          <a:p>
            <a:pPr marL="0" lvl="1" indent="0" algn="just">
              <a:buNone/>
            </a:pPr>
            <a:endParaRPr lang="pt-BR" sz="1050" dirty="0"/>
          </a:p>
          <a:p>
            <a:pPr marL="0" lvl="1" indent="0" algn="just">
              <a:buNone/>
            </a:pPr>
            <a:r>
              <a:rPr lang="pt-BR" sz="1050" b="1" dirty="0" err="1"/>
              <a:t>Github</a:t>
            </a:r>
            <a:r>
              <a:rPr lang="pt-BR" sz="1050" dirty="0"/>
              <a:t> </a:t>
            </a:r>
            <a:r>
              <a:rPr lang="pt-BR" sz="1050" b="1" dirty="0"/>
              <a:t>Web </a:t>
            </a:r>
            <a:r>
              <a:rPr lang="pt-BR" sz="1050" dirty="0"/>
              <a:t>- é um aplicativo baseado na Web que permite hospedar arquivos em repositórios, colaborar no trabalho e rastrear alterações em arquivos ao longo do tempo.</a:t>
            </a:r>
          </a:p>
          <a:p>
            <a:pPr marL="0" lvl="1" indent="0" algn="just">
              <a:buNone/>
            </a:pPr>
            <a:endParaRPr lang="pt-BR" sz="1050" b="1" dirty="0"/>
          </a:p>
          <a:p>
            <a:pPr marL="0" lvl="1" indent="0" algn="just">
              <a:buNone/>
            </a:pPr>
            <a:r>
              <a:rPr lang="pt-BR" sz="1050" b="1" dirty="0"/>
              <a:t>Pandas </a:t>
            </a:r>
            <a:r>
              <a:rPr lang="pt-BR" sz="1050" dirty="0"/>
              <a:t> – biblioteca poderosa para manipulação e análise de dados, oferecendo estruturas de dados flexíveis como </a:t>
            </a:r>
            <a:r>
              <a:rPr lang="pt-BR" sz="1050" dirty="0" err="1"/>
              <a:t>DataFrames</a:t>
            </a:r>
            <a:r>
              <a:rPr lang="pt-BR" sz="1050" dirty="0"/>
              <a:t> para lidar com dados tabulares.</a:t>
            </a:r>
          </a:p>
          <a:p>
            <a:pPr marL="0" lvl="1" indent="0" algn="just">
              <a:buNone/>
            </a:pPr>
            <a:r>
              <a:rPr lang="pt-BR" sz="1050" b="1" dirty="0" err="1"/>
              <a:t>Numpy</a:t>
            </a:r>
            <a:r>
              <a:rPr lang="pt-BR" sz="1050" dirty="0"/>
              <a:t> – biblioteca fundamental para computação científica em Python, fornecendo suporte para </a:t>
            </a:r>
            <a:r>
              <a:rPr lang="pt-BR" sz="1050" dirty="0" err="1"/>
              <a:t>arrays</a:t>
            </a:r>
            <a:r>
              <a:rPr lang="pt-BR" sz="1050" dirty="0"/>
              <a:t> multidimensionais e uma vasta coleção de funções matemáticas</a:t>
            </a:r>
          </a:p>
          <a:p>
            <a:pPr marL="0" lvl="1" indent="0" algn="just">
              <a:buNone/>
            </a:pPr>
            <a:r>
              <a:rPr lang="pt-BR" sz="1050" b="1" dirty="0" err="1"/>
              <a:t>Seaborn</a:t>
            </a:r>
            <a:r>
              <a:rPr lang="pt-BR" sz="1050" dirty="0"/>
              <a:t> – biblioteca de visualização de dados baseada no </a:t>
            </a:r>
            <a:r>
              <a:rPr lang="pt-BR" sz="1050" dirty="0" err="1"/>
              <a:t>Matplotlib</a:t>
            </a:r>
            <a:r>
              <a:rPr lang="pt-BR" sz="1050" dirty="0"/>
              <a:t>, que facilita a criação de gráficos estatísticos atraentes e informativos</a:t>
            </a:r>
          </a:p>
          <a:p>
            <a:pPr marL="0" lvl="1" indent="0" algn="just">
              <a:buNone/>
            </a:pPr>
            <a:r>
              <a:rPr lang="pt-BR" sz="1050" b="1" dirty="0" err="1"/>
              <a:t>Matplot</a:t>
            </a:r>
            <a:r>
              <a:rPr lang="pt-BR" sz="1050" dirty="0"/>
              <a:t> – biblioteca de plotagem versátil que permite a criação de gráficos e visualizações em 2D, ideal para análises de dados exploratórias e apresentação de resultados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DF57B02-07BB-407B-BB36-06D9C64A67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917665" y="722376"/>
            <a:ext cx="6476356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6855964-C920-48EB-8804-74291211C8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917665" y="6144768"/>
            <a:ext cx="647635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8032D7AF-FD06-0443-9EAC-790C6F9B87F7}"/>
              </a:ext>
            </a:extLst>
          </p:cNvPr>
          <p:cNvSpPr txBox="1"/>
          <p:nvPr/>
        </p:nvSpPr>
        <p:spPr>
          <a:xfrm>
            <a:off x="283278" y="6246737"/>
            <a:ext cx="111086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O notebook utilizado para geração dos gráficos está disponível em: </a:t>
            </a:r>
            <a:r>
              <a:rPr lang="pt-BR" sz="1200" dirty="0">
                <a:solidFill>
                  <a:srgbClr val="0070C0"/>
                </a:solidFill>
                <a:hlinkClick r:id="rId6"/>
              </a:rPr>
              <a:t>https://github.com/alexfettermann/MDT/blob/main/DS/MDT-EAD-graficos.ipynb</a:t>
            </a:r>
            <a:endParaRPr lang="pt-BR" sz="1200" dirty="0">
              <a:solidFill>
                <a:srgbClr val="0070C0"/>
              </a:solidFill>
            </a:endParaRPr>
          </a:p>
        </p:txBody>
      </p:sp>
      <p:pic>
        <p:nvPicPr>
          <p:cNvPr id="19" name="Picture 2" descr="Linguagem Python - 2/2012 Grupo 2 | Linguagens de ...">
            <a:extLst>
              <a:ext uri="{FF2B5EF4-FFF2-40B4-BE49-F238E27FC236}">
                <a16:creationId xmlns:a16="http://schemas.microsoft.com/office/drawing/2014/main" id="{A3D9DDF1-7C5E-AA76-62F8-38E189711D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5020" y="1365762"/>
            <a:ext cx="770336" cy="725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6" descr="Baixar Ferramentas do Visual Studio – Instalação gratuita para Windows, Mac  e Linux">
            <a:extLst>
              <a:ext uri="{FF2B5EF4-FFF2-40B4-BE49-F238E27FC236}">
                <a16:creationId xmlns:a16="http://schemas.microsoft.com/office/drawing/2014/main" id="{F25870FF-D270-0825-9FAF-E049822B78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0025" y="2275507"/>
            <a:ext cx="824076" cy="82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8" descr="Jupyter Notebook: Exemplos de Códigos e Como Usar | Alura">
            <a:extLst>
              <a:ext uri="{FF2B5EF4-FFF2-40B4-BE49-F238E27FC236}">
                <a16:creationId xmlns:a16="http://schemas.microsoft.com/office/drawing/2014/main" id="{8494B3AB-0617-9D8E-2C24-AA55360AD3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6139" y="2275507"/>
            <a:ext cx="708296" cy="82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0" descr="Logotipo do github - ícones de mídia social grátis">
            <a:extLst>
              <a:ext uri="{FF2B5EF4-FFF2-40B4-BE49-F238E27FC236}">
                <a16:creationId xmlns:a16="http://schemas.microsoft.com/office/drawing/2014/main" id="{251FB74C-1DF3-1E90-A1C4-29FA5EF515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7060" y="3293983"/>
            <a:ext cx="708296" cy="708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2" descr="pandas (software) - Wikipedia">
            <a:extLst>
              <a:ext uri="{FF2B5EF4-FFF2-40B4-BE49-F238E27FC236}">
                <a16:creationId xmlns:a16="http://schemas.microsoft.com/office/drawing/2014/main" id="{A517692E-B071-DE00-68D0-1C859A2F8C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5492" y="4334495"/>
            <a:ext cx="1681164" cy="68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4" descr="NumPy -">
            <a:extLst>
              <a:ext uri="{FF2B5EF4-FFF2-40B4-BE49-F238E27FC236}">
                <a16:creationId xmlns:a16="http://schemas.microsoft.com/office/drawing/2014/main" id="{787DDE7E-AADF-1051-DEC9-3636438CF1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3308" y="4151051"/>
            <a:ext cx="923658" cy="923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6" descr="Citing and logo — seaborn 0.13.2 documentation">
            <a:extLst>
              <a:ext uri="{FF2B5EF4-FFF2-40B4-BE49-F238E27FC236}">
                <a16:creationId xmlns:a16="http://schemas.microsoft.com/office/drawing/2014/main" id="{BF6D1D1E-3269-2586-6CEE-DBABAFEA1F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5423" y="5151794"/>
            <a:ext cx="910514" cy="867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8">
            <a:extLst>
              <a:ext uri="{FF2B5EF4-FFF2-40B4-BE49-F238E27FC236}">
                <a16:creationId xmlns:a16="http://schemas.microsoft.com/office/drawing/2014/main" id="{D2B21ACE-C0F8-2C18-926B-EDA167FEA9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9387" y="5190414"/>
            <a:ext cx="789898" cy="789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990545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114B09B-3DED-BC62-1FFF-D29DE7D210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449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85" imgH="385" progId="TCLayout.ActiveDocument.1">
                  <p:embed/>
                </p:oleObj>
              </mc:Choice>
              <mc:Fallback>
                <p:oleObj name="Slide do think-cell" r:id="rId4" imgW="385" imgH="38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14B09B-3DED-BC62-1FFF-D29DE7D210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A521BCDC-1259-C4FD-2ABF-DE9F75D18D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087" y="909637"/>
            <a:ext cx="4800600" cy="130759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PRE-FLIGHT CHECK</a:t>
            </a:r>
          </a:p>
        </p:txBody>
      </p:sp>
      <p:sp>
        <p:nvSpPr>
          <p:cNvPr id="13" name="Espaço Reservado para Conteúdo 3">
            <a:extLst>
              <a:ext uri="{FF2B5EF4-FFF2-40B4-BE49-F238E27FC236}">
                <a16:creationId xmlns:a16="http://schemas.microsoft.com/office/drawing/2014/main" id="{00CE7DF2-219B-4702-9385-B6A87537169C}"/>
              </a:ext>
            </a:extLst>
          </p:cNvPr>
          <p:cNvSpPr txBox="1">
            <a:spLocks/>
          </p:cNvSpPr>
          <p:nvPr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4836834" y="1419711"/>
            <a:ext cx="6632962" cy="20281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2500"/>
              </a:spcBef>
              <a:buFont typeface="Arial" panose="020B0604020202020204" pitchFamily="34" charset="0"/>
              <a:buNone/>
            </a:pPr>
            <a:r>
              <a:rPr lang="pt-BR" sz="1400" b="1" dirty="0"/>
              <a:t>Dados ok após o tratamento?</a:t>
            </a:r>
          </a:p>
          <a:p>
            <a:pPr marL="0" lvl="1" indent="0">
              <a:buFont typeface="Arial" panose="020B0604020202020204" pitchFamily="34" charset="0"/>
              <a:buNone/>
            </a:pPr>
            <a:r>
              <a:rPr lang="pt-BR" sz="1400" dirty="0"/>
              <a:t>Inicialmente fizemos o setup do ambiente e após a carga do </a:t>
            </a:r>
            <a:r>
              <a:rPr lang="pt-BR" sz="1400" dirty="0" err="1"/>
              <a:t>csv</a:t>
            </a:r>
            <a:r>
              <a:rPr lang="pt-BR" sz="1400" dirty="0"/>
              <a:t> em um </a:t>
            </a:r>
            <a:r>
              <a:rPr lang="pt-BR" sz="1400" i="1" dirty="0" err="1"/>
              <a:t>dataframe</a:t>
            </a:r>
            <a:r>
              <a:rPr lang="pt-BR" sz="1400" dirty="0"/>
              <a:t> Pandas. Obtivemos estatísticas genéricas dos dados para verificar se após o tratamento, os dados estavam realmente preparados para a análise. Basicamente,</a:t>
            </a:r>
            <a:br>
              <a:rPr lang="pt-BR" sz="1400" dirty="0"/>
            </a:br>
            <a:r>
              <a:rPr lang="pt-BR" sz="1400" b="1" dirty="0" err="1"/>
              <a:t>PayLoad</a:t>
            </a:r>
            <a:r>
              <a:rPr lang="pt-BR" sz="1400" b="1" dirty="0"/>
              <a:t> nulos foram substituídos pela média e</a:t>
            </a:r>
            <a:r>
              <a:rPr lang="pt-BR" sz="1400" dirty="0"/>
              <a:t> o</a:t>
            </a:r>
            <a:r>
              <a:rPr lang="pt-BR" sz="1400" b="1" dirty="0"/>
              <a:t> número de registros foi preservado (90)</a:t>
            </a:r>
            <a:r>
              <a:rPr lang="pt-BR" sz="1400" dirty="0"/>
              <a:t>. </a:t>
            </a:r>
            <a:endParaRPr lang="pt-BR" sz="1400" b="1" dirty="0"/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233FE6D4-6B76-30B0-BA35-882A9C73BC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8148" y="1558911"/>
            <a:ext cx="3195588" cy="4443527"/>
          </a:xfrm>
          <a:prstGeom prst="rect">
            <a:avLst/>
          </a:prstGeom>
        </p:spPr>
      </p:pic>
      <p:pic>
        <p:nvPicPr>
          <p:cNvPr id="26" name="Imagem 25">
            <a:extLst>
              <a:ext uri="{FF2B5EF4-FFF2-40B4-BE49-F238E27FC236}">
                <a16:creationId xmlns:a16="http://schemas.microsoft.com/office/drawing/2014/main" id="{9F28A3D0-E57B-1910-25CE-A6E98CA8BD7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19912" y="3279106"/>
            <a:ext cx="6549884" cy="2723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555614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E5CB069-257A-5444-C57B-715C262F48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1724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85" imgH="385" progId="TCLayout.ActiveDocument.1">
                  <p:embed/>
                </p:oleObj>
              </mc:Choice>
              <mc:Fallback>
                <p:oleObj name="Slide do think-cell" r:id="rId4" imgW="385" imgH="38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5CB069-257A-5444-C57B-715C262F48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766A1B7-D07C-B910-EA0A-812655FCC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2507" y="1358671"/>
            <a:ext cx="2843711" cy="149332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300" dirty="0"/>
              <a:t>GRAFICO DE LINHA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1B17990-7DB0-F756-7DE7-23348D040D69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8652509" y="2608446"/>
            <a:ext cx="2843711" cy="3465095"/>
          </a:xfrm>
        </p:spPr>
        <p:txBody>
          <a:bodyPr>
            <a:normAutofit/>
          </a:bodyPr>
          <a:lstStyle/>
          <a:p>
            <a:pPr marL="0" indent="0">
              <a:spcBef>
                <a:spcPts val="2500"/>
              </a:spcBef>
              <a:buNone/>
            </a:pPr>
            <a:endParaRPr lang="pt-BR" sz="1400" b="1" dirty="0"/>
          </a:p>
          <a:p>
            <a:pPr marL="0" lvl="1" indent="0">
              <a:buNone/>
            </a:pPr>
            <a:r>
              <a:rPr lang="pt-BR" sz="1400" b="1" dirty="0"/>
              <a:t>O que podemos concluir a respeito da taxa de Sucesso no tempo? </a:t>
            </a:r>
            <a:endParaRPr lang="pt-BR" sz="1400" dirty="0"/>
          </a:p>
          <a:p>
            <a:pPr marL="0" lvl="1" indent="0">
              <a:buNone/>
            </a:pPr>
            <a:br>
              <a:rPr lang="pt-BR" sz="1400" dirty="0"/>
            </a:br>
            <a:r>
              <a:rPr lang="pt-BR" sz="1400" b="1" dirty="0"/>
              <a:t>R: A taxa de sucesso tenderá a 100%. </a:t>
            </a:r>
          </a:p>
          <a:p>
            <a:pPr marL="0" lvl="1" indent="0">
              <a:buNone/>
            </a:pPr>
            <a:r>
              <a:rPr lang="pt-BR" sz="1400" b="1" dirty="0"/>
              <a:t>Houve uma grande melhora a partir de 2013 e o melhor período está compreendido entre 2019-2020</a:t>
            </a: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A4973786-7F05-A547-5615-837670C8247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2648" y="1060586"/>
            <a:ext cx="3830815" cy="3367036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5765E5B9-FB77-45FF-1C46-B2BC98C72740}"/>
              </a:ext>
            </a:extLst>
          </p:cNvPr>
          <p:cNvSpPr txBox="1"/>
          <p:nvPr/>
        </p:nvSpPr>
        <p:spPr>
          <a:xfrm>
            <a:off x="1155031" y="4600876"/>
            <a:ext cx="357843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A partir de 2013 os lançamentos bem-sucedidos ocorreram.</a:t>
            </a:r>
            <a:br>
              <a:rPr lang="pt-BR" sz="1400" dirty="0"/>
            </a:br>
            <a:r>
              <a:rPr lang="pt-BR" sz="1400" dirty="0"/>
              <a:t>De 2015 a 2017 houve um incremento significativo na taxa de sucesso.</a:t>
            </a:r>
          </a:p>
          <a:p>
            <a:r>
              <a:rPr lang="pt-BR" sz="1400" dirty="0"/>
              <a:t>Em 2018 houve uma deterioração da taxa que na sequência se recuperou.</a:t>
            </a:r>
          </a:p>
          <a:p>
            <a:endParaRPr lang="pt-BR" sz="1400" dirty="0"/>
          </a:p>
        </p:txBody>
      </p:sp>
      <p:pic>
        <p:nvPicPr>
          <p:cNvPr id="20" name="Imagem 19">
            <a:extLst>
              <a:ext uri="{FF2B5EF4-FFF2-40B4-BE49-F238E27FC236}">
                <a16:creationId xmlns:a16="http://schemas.microsoft.com/office/drawing/2014/main" id="{5FAFE799-C8AC-13BB-3574-09F9D5945B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22537" y="1060586"/>
            <a:ext cx="3740893" cy="3288000"/>
          </a:xfrm>
          <a:prstGeom prst="rect">
            <a:avLst/>
          </a:prstGeom>
        </p:spPr>
      </p:pic>
      <p:sp>
        <p:nvSpPr>
          <p:cNvPr id="21" name="CaixaDeTexto 20">
            <a:extLst>
              <a:ext uri="{FF2B5EF4-FFF2-40B4-BE49-F238E27FC236}">
                <a16:creationId xmlns:a16="http://schemas.microsoft.com/office/drawing/2014/main" id="{484A55B3-8C42-ED53-41E3-CD3CCDE63755}"/>
              </a:ext>
            </a:extLst>
          </p:cNvPr>
          <p:cNvSpPr txBox="1"/>
          <p:nvPr/>
        </p:nvSpPr>
        <p:spPr>
          <a:xfrm>
            <a:off x="5074076" y="4600876"/>
            <a:ext cx="357843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Uma linha tendência mostra claramente que existe uma correlação positiva de sucesso com o tempo.</a:t>
            </a:r>
          </a:p>
          <a:p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350955338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E5CB069-257A-5444-C57B-715C262F48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1859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85" imgH="385" progId="TCLayout.ActiveDocument.1">
                  <p:embed/>
                </p:oleObj>
              </mc:Choice>
              <mc:Fallback>
                <p:oleObj name="Slide do think-cell" r:id="rId4" imgW="385" imgH="38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5CB069-257A-5444-C57B-715C262F48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766A1B7-D07C-B910-EA0A-812655FCC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2507" y="1358671"/>
            <a:ext cx="2843711" cy="149332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300" dirty="0"/>
              <a:t>HISTOGRAMA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1B17990-7DB0-F756-7DE7-23348D040D69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8652509" y="2608446"/>
            <a:ext cx="2843711" cy="3465095"/>
          </a:xfrm>
        </p:spPr>
        <p:txBody>
          <a:bodyPr>
            <a:normAutofit/>
          </a:bodyPr>
          <a:lstStyle/>
          <a:p>
            <a:pPr marL="0" indent="0">
              <a:spcBef>
                <a:spcPts val="2500"/>
              </a:spcBef>
              <a:buNone/>
            </a:pPr>
            <a:endParaRPr lang="pt-BR" sz="1400" b="1" dirty="0"/>
          </a:p>
          <a:p>
            <a:pPr marL="0" lvl="1" indent="0">
              <a:buNone/>
            </a:pPr>
            <a:r>
              <a:rPr lang="pt-BR" sz="1400" b="1" dirty="0"/>
              <a:t>Quais órbitas possuem as melhores e piores taxa de sucesso</a:t>
            </a:r>
            <a:endParaRPr lang="pt-BR" sz="1400" dirty="0"/>
          </a:p>
          <a:p>
            <a:pPr marL="0" lvl="1" indent="0">
              <a:buNone/>
            </a:pPr>
            <a:br>
              <a:rPr lang="pt-BR" sz="1400" dirty="0"/>
            </a:br>
            <a:r>
              <a:rPr lang="pt-BR" sz="1400" b="1" dirty="0"/>
              <a:t>R: As taxas ES-L1, GEO, HEO e SSO possuem taxa de sucesso de 100% e a SO 0%.</a:t>
            </a:r>
            <a:br>
              <a:rPr lang="pt-BR" sz="1400" b="1" dirty="0"/>
            </a:br>
            <a:r>
              <a:rPr lang="pt-BR" sz="1400" b="1" dirty="0"/>
              <a:t>NO ENTANTO, o Histograma não traz a quantidade de voos para cada uma das órbitas!</a:t>
            </a:r>
            <a:br>
              <a:rPr lang="pt-BR" sz="1400" b="1" dirty="0"/>
            </a:br>
            <a:r>
              <a:rPr lang="pt-BR" sz="1400" b="1" dirty="0"/>
              <a:t>Para uma análise mais assertiva, será necessário contar voos em cada caso.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5765E5B9-FB77-45FF-1C46-B2BC98C72740}"/>
              </a:ext>
            </a:extLst>
          </p:cNvPr>
          <p:cNvSpPr txBox="1"/>
          <p:nvPr/>
        </p:nvSpPr>
        <p:spPr>
          <a:xfrm>
            <a:off x="1241658" y="5119434"/>
            <a:ext cx="67088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As órbitas: ES-L1, GEO, HEO e SSO possuem taxa de sucesso de 100%, já a taxa SO possui taxa de sucesso de 0%.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CB6603D9-3AD2-C376-3D9A-A251354D7F4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55031" y="1020015"/>
            <a:ext cx="6882064" cy="3944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89460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E5CB069-257A-5444-C57B-715C262F48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5882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85" imgH="385" progId="TCLayout.ActiveDocument.1">
                  <p:embed/>
                </p:oleObj>
              </mc:Choice>
              <mc:Fallback>
                <p:oleObj name="Slide do think-cell" r:id="rId4" imgW="385" imgH="38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5CB069-257A-5444-C57B-715C262F48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766A1B7-D07C-B910-EA0A-812655FCC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46206" y="295200"/>
            <a:ext cx="4973052" cy="149332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300" dirty="0"/>
              <a:t>PONTOS - </a:t>
            </a:r>
            <a:r>
              <a:rPr lang="en-US" sz="3300" dirty="0" err="1"/>
              <a:t>Dispersão</a:t>
            </a:r>
            <a:endParaRPr lang="en-US" sz="3300" dirty="0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1B17990-7DB0-F756-7DE7-23348D040D69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907535" y="3392906"/>
            <a:ext cx="10761943" cy="2632510"/>
          </a:xfrm>
        </p:spPr>
        <p:txBody>
          <a:bodyPr>
            <a:normAutofit/>
          </a:bodyPr>
          <a:lstStyle/>
          <a:p>
            <a:pPr marL="0" indent="0">
              <a:spcBef>
                <a:spcPts val="2500"/>
              </a:spcBef>
              <a:buNone/>
            </a:pPr>
            <a:endParaRPr lang="pt-BR" sz="1400" b="1" dirty="0"/>
          </a:p>
          <a:p>
            <a:pPr marL="0" lvl="1" indent="0">
              <a:buNone/>
            </a:pPr>
            <a:r>
              <a:rPr lang="pt-BR" sz="1400" b="1" dirty="0"/>
              <a:t>Quais relações existem entre o Tipo de Orbita e o Número de </a:t>
            </a:r>
            <a:r>
              <a:rPr lang="pt-BR" sz="1400" b="1" dirty="0" err="1"/>
              <a:t>Vôo</a:t>
            </a:r>
            <a:r>
              <a:rPr lang="pt-BR" sz="1400" b="1" dirty="0"/>
              <a:t>?</a:t>
            </a:r>
            <a:endParaRPr lang="pt-BR" sz="1400" dirty="0"/>
          </a:p>
          <a:p>
            <a:pPr marL="0" lvl="1" indent="0">
              <a:buNone/>
            </a:pPr>
            <a:br>
              <a:rPr lang="pt-BR" sz="1400" dirty="0"/>
            </a:br>
            <a:r>
              <a:rPr lang="pt-BR" sz="1400" b="1" dirty="0"/>
              <a:t>R:</a:t>
            </a:r>
          </a:p>
          <a:p>
            <a:pPr marL="342900" lvl="1" indent="-342900">
              <a:buAutoNum type="arabicPeriod"/>
            </a:pPr>
            <a:r>
              <a:rPr lang="pt-BR" sz="1400" b="1" dirty="0"/>
              <a:t>Claramente existe uma relação entre o número de voos e o tipo de Órbita, visto que algumas órbitas possuem um número bem maior de voos do que outras.</a:t>
            </a:r>
          </a:p>
          <a:p>
            <a:pPr marL="342900" lvl="1" indent="-342900">
              <a:buAutoNum type="arabicPeriod"/>
            </a:pPr>
            <a:r>
              <a:rPr lang="pt-BR" sz="1400" b="1" dirty="0"/>
              <a:t>Para a órbita GEO, HEO, ES-L1 e SO, o número de voos (1) não parece ser suficiente para se trazer uma conclusão objetiva quanto a correlação das duas variáveis.</a:t>
            </a:r>
          </a:p>
          <a:p>
            <a:pPr marL="342900" lvl="1" indent="-342900">
              <a:buAutoNum type="arabicPeriod"/>
            </a:pPr>
            <a:r>
              <a:rPr lang="pt-BR" sz="1400" b="1" dirty="0"/>
              <a:t>Já para LEO, VLEO, SSO e PO parece haver uma correlação positiva entre o número de voos e a Orbita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5CEE4330-F23B-84EA-A065-17778E5C68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2522" y="1356815"/>
            <a:ext cx="11496221" cy="2216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5604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E5CB069-257A-5444-C57B-715C262F48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3069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85" imgH="385" progId="TCLayout.ActiveDocument.1">
                  <p:embed/>
                </p:oleObj>
              </mc:Choice>
              <mc:Fallback>
                <p:oleObj name="Slide do think-cell" r:id="rId4" imgW="385" imgH="38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5CB069-257A-5444-C57B-715C262F48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766A1B7-D07C-B910-EA0A-812655FCC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88455" y="295200"/>
            <a:ext cx="5030803" cy="149332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300" dirty="0"/>
              <a:t>PONTOS - </a:t>
            </a:r>
            <a:r>
              <a:rPr lang="en-US" sz="3300" dirty="0" err="1"/>
              <a:t>Dispersão</a:t>
            </a:r>
            <a:endParaRPr lang="en-US" sz="3300" dirty="0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1B17990-7DB0-F756-7DE7-23348D040D69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907535" y="3392906"/>
            <a:ext cx="10761943" cy="2632510"/>
          </a:xfrm>
        </p:spPr>
        <p:txBody>
          <a:bodyPr>
            <a:normAutofit/>
          </a:bodyPr>
          <a:lstStyle/>
          <a:p>
            <a:pPr marL="0" indent="0">
              <a:spcBef>
                <a:spcPts val="2500"/>
              </a:spcBef>
              <a:buNone/>
            </a:pPr>
            <a:endParaRPr lang="pt-BR" sz="1400" b="1" dirty="0"/>
          </a:p>
          <a:p>
            <a:pPr marL="0" lvl="1" indent="0">
              <a:buNone/>
            </a:pPr>
            <a:r>
              <a:rPr lang="pt-BR" sz="1400" b="1" dirty="0"/>
              <a:t>Quais relações existem entre a Carga Útil e a Órbita?</a:t>
            </a:r>
            <a:endParaRPr lang="pt-BR" sz="1400" dirty="0"/>
          </a:p>
          <a:p>
            <a:pPr marL="0" lvl="1" indent="0">
              <a:buNone/>
            </a:pPr>
            <a:br>
              <a:rPr lang="pt-BR" sz="1400" dirty="0"/>
            </a:br>
            <a:r>
              <a:rPr lang="pt-BR" sz="1400" b="1" dirty="0"/>
              <a:t>R:</a:t>
            </a:r>
          </a:p>
          <a:p>
            <a:pPr marL="342900" lvl="1" indent="-342900">
              <a:buAutoNum type="arabicPeriod"/>
            </a:pPr>
            <a:r>
              <a:rPr lang="pt-BR" sz="1400" b="1" dirty="0"/>
              <a:t>Levando-se em conta que a Órbita ISS é a órbita da Estação Espacial Internacional, portanto não se trata de Carga Útil de lançamento e sim de pessoas, as órbitas mais bem sucedidas para cargas pesadas (&gt;10K Kg) são a VLEO e a PO</a:t>
            </a:r>
          </a:p>
          <a:p>
            <a:pPr marL="342900" lvl="1" indent="-342900">
              <a:buAutoNum type="arabicPeriod"/>
            </a:pPr>
            <a:r>
              <a:rPr lang="pt-BR" sz="1400" b="1" dirty="0"/>
              <a:t>Para cargas até 4K Kg, a órbita SSO performou muito bem, apesar de ter apenas 5 lançamentos.</a:t>
            </a:r>
          </a:p>
          <a:p>
            <a:pPr marL="342900" lvl="1" indent="-342900">
              <a:buAutoNum type="arabicPeriod"/>
            </a:pPr>
            <a:r>
              <a:rPr lang="pt-BR" sz="1400" b="1" dirty="0"/>
              <a:t>Como Cargas Úteis maiores estão relacionadas com a maior capacidade de se lançar satélites, parece que a órbita VLEO é a mais bem sucedida em termos gerais!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A64558F5-B5A5-CE74-305F-E1479D8DB23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2071" y="1314310"/>
            <a:ext cx="11527857" cy="221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06232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E5CB069-257A-5444-C57B-715C262F48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85" imgH="385" progId="TCLayout.ActiveDocument.1">
                  <p:embed/>
                </p:oleObj>
              </mc:Choice>
              <mc:Fallback>
                <p:oleObj name="Slide do think-cell" r:id="rId4" imgW="385" imgH="38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5CB069-257A-5444-C57B-715C262F48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766A1B7-D07C-B910-EA0A-812655FCC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88455" y="295200"/>
            <a:ext cx="5030803" cy="149332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300" dirty="0"/>
              <a:t>PONTOS - </a:t>
            </a:r>
            <a:r>
              <a:rPr lang="en-US" sz="3300" dirty="0" err="1"/>
              <a:t>Dispersão</a:t>
            </a:r>
            <a:endParaRPr lang="en-US" sz="3300" dirty="0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1B17990-7DB0-F756-7DE7-23348D040D69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907535" y="3392906"/>
            <a:ext cx="10761943" cy="2632510"/>
          </a:xfrm>
        </p:spPr>
        <p:txBody>
          <a:bodyPr>
            <a:normAutofit/>
          </a:bodyPr>
          <a:lstStyle/>
          <a:p>
            <a:pPr marL="0" indent="0">
              <a:spcBef>
                <a:spcPts val="2500"/>
              </a:spcBef>
              <a:buNone/>
            </a:pPr>
            <a:endParaRPr lang="pt-BR" sz="1400" b="1" dirty="0"/>
          </a:p>
          <a:p>
            <a:pPr marL="0" lvl="1" indent="0">
              <a:buNone/>
            </a:pPr>
            <a:r>
              <a:rPr lang="pt-BR" sz="1400" b="1" dirty="0"/>
              <a:t>Quais relações existem entre Local de Lançamento e Número de </a:t>
            </a:r>
            <a:r>
              <a:rPr lang="pt-BR" sz="1400" b="1" dirty="0" err="1"/>
              <a:t>Vôo</a:t>
            </a:r>
            <a:r>
              <a:rPr lang="pt-BR" sz="1400" b="1" dirty="0"/>
              <a:t>?</a:t>
            </a:r>
            <a:endParaRPr lang="pt-BR" sz="1400" dirty="0"/>
          </a:p>
          <a:p>
            <a:pPr marL="0" lvl="1" indent="0">
              <a:buNone/>
            </a:pPr>
            <a:br>
              <a:rPr lang="pt-BR" sz="1400" dirty="0"/>
            </a:br>
            <a:r>
              <a:rPr lang="pt-BR" sz="1400" b="1" dirty="0"/>
              <a:t>R:</a:t>
            </a:r>
          </a:p>
          <a:p>
            <a:pPr marL="342900" lvl="1" indent="-342900">
              <a:buAutoNum type="arabicPeriod"/>
            </a:pPr>
            <a:r>
              <a:rPr lang="pt-BR" sz="1400" b="1" dirty="0"/>
              <a:t>Conforme verificado no gráfico de linha e de tendência, conforme o número de voo cresce, a taxa de sucesso cresce!</a:t>
            </a:r>
          </a:p>
          <a:p>
            <a:pPr marL="342900" lvl="1" indent="-342900">
              <a:buAutoNum type="arabicPeriod"/>
            </a:pPr>
            <a:r>
              <a:rPr lang="pt-BR" sz="1400" b="1" dirty="0"/>
              <a:t>O principal local de lançamento é o CCAPS SLC 40</a:t>
            </a:r>
          </a:p>
          <a:p>
            <a:pPr marL="342900" lvl="1" indent="-342900">
              <a:buAutoNum type="arabicPeriod"/>
            </a:pPr>
            <a:r>
              <a:rPr lang="pt-BR" sz="1400" b="1" dirty="0"/>
              <a:t>O local com a melhor taxa de sucesso de lançamentos é o VAFB SLC 4E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7BD33CF7-84BD-2EDB-25D0-9ABC974D35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353570"/>
            <a:ext cx="12192000" cy="232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2513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E5CB069-257A-5444-C57B-715C262F48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85" imgH="385" progId="TCLayout.ActiveDocument.1">
                  <p:embed/>
                </p:oleObj>
              </mc:Choice>
              <mc:Fallback>
                <p:oleObj name="Slide do think-cell" r:id="rId4" imgW="385" imgH="38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5CB069-257A-5444-C57B-715C262F48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766A1B7-D07C-B910-EA0A-812655FCC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88455" y="295200"/>
            <a:ext cx="5030803" cy="149332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300" dirty="0"/>
              <a:t>PONTOS - </a:t>
            </a:r>
            <a:r>
              <a:rPr lang="en-US" sz="3300" dirty="0" err="1"/>
              <a:t>Dispersão</a:t>
            </a:r>
            <a:endParaRPr lang="en-US" sz="3300" dirty="0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1B17990-7DB0-F756-7DE7-23348D040D69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770021" y="3392906"/>
            <a:ext cx="10899457" cy="2632510"/>
          </a:xfrm>
        </p:spPr>
        <p:txBody>
          <a:bodyPr>
            <a:normAutofit/>
          </a:bodyPr>
          <a:lstStyle/>
          <a:p>
            <a:pPr marL="0" indent="0">
              <a:spcBef>
                <a:spcPts val="2500"/>
              </a:spcBef>
              <a:buNone/>
            </a:pPr>
            <a:endParaRPr lang="pt-BR" sz="1400" b="1" dirty="0"/>
          </a:p>
          <a:p>
            <a:pPr marL="0" lvl="1" indent="0">
              <a:buNone/>
            </a:pPr>
            <a:r>
              <a:rPr lang="pt-BR" sz="1400" b="1" dirty="0"/>
              <a:t>Quais relações existem entre a Carga Útil e Local de Lançamento?</a:t>
            </a:r>
            <a:endParaRPr lang="pt-BR" sz="1400" dirty="0"/>
          </a:p>
          <a:p>
            <a:pPr marL="0" lvl="1" indent="0">
              <a:buNone/>
            </a:pPr>
            <a:br>
              <a:rPr lang="pt-BR" sz="1400" dirty="0"/>
            </a:br>
            <a:r>
              <a:rPr lang="pt-BR" sz="1400" b="1" dirty="0"/>
              <a:t>R:</a:t>
            </a:r>
          </a:p>
          <a:p>
            <a:pPr marL="342900" lvl="1" indent="-342900">
              <a:buAutoNum type="arabicPeriod"/>
            </a:pPr>
            <a:r>
              <a:rPr lang="pt-BR" sz="1400" b="1" dirty="0"/>
              <a:t>Quanto maior a carga Útil para o site CCAFS SLC, maior a taxa de sucesso</a:t>
            </a:r>
          </a:p>
          <a:p>
            <a:pPr marL="342900" lvl="1" indent="-342900">
              <a:buAutoNum type="arabicPeriod"/>
            </a:pPr>
            <a:r>
              <a:rPr lang="pt-BR" sz="1400" b="1" dirty="0"/>
              <a:t>Para a faixa de 8K a 14K, todos os lançamentos, com exceção de 1, foram bem sucedidos</a:t>
            </a:r>
          </a:p>
          <a:p>
            <a:pPr marL="342900" lvl="1" indent="-342900">
              <a:buAutoNum type="arabicPeriod"/>
            </a:pPr>
            <a:r>
              <a:rPr lang="pt-BR" sz="1400" b="1" dirty="0"/>
              <a:t>O site VAFB SLC 4E é o local de lançamento com a maior taxa de sucesso (já verificado antes)</a:t>
            </a:r>
          </a:p>
          <a:p>
            <a:pPr marL="342900" lvl="1" indent="-342900">
              <a:buAutoNum type="arabicPeriod"/>
            </a:pPr>
            <a:endParaRPr lang="pt-BR" sz="1400" b="1" dirty="0"/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5D1CF433-7B5A-CC68-62D6-3C09FD64EC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245568"/>
            <a:ext cx="12192000" cy="2382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67879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E5CB069-257A-5444-C57B-715C262F48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6929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85" imgH="385" progId="TCLayout.ActiveDocument.1">
                  <p:embed/>
                </p:oleObj>
              </mc:Choice>
              <mc:Fallback>
                <p:oleObj name="Slide do think-cell" r:id="rId4" imgW="385" imgH="38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5CB069-257A-5444-C57B-715C262F48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766A1B7-D07C-B910-EA0A-812655FCC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88455" y="295200"/>
            <a:ext cx="4263991" cy="149332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</a:pPr>
            <a:r>
              <a:rPr lang="en-US" sz="3300" dirty="0"/>
              <a:t>BOX-PLOT</a:t>
            </a:r>
          </a:p>
        </p:txBody>
      </p:sp>
      <p:pic>
        <p:nvPicPr>
          <p:cNvPr id="7" name="Imagem 6" descr="Gráfico, Gráfico de caixa estreita&#10;&#10;Descrição gerada automaticamente">
            <a:extLst>
              <a:ext uri="{FF2B5EF4-FFF2-40B4-BE49-F238E27FC236}">
                <a16:creationId xmlns:a16="http://schemas.microsoft.com/office/drawing/2014/main" id="{E900A6DA-67D8-E45A-E4DA-E101129A5B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2269" y="846154"/>
            <a:ext cx="6136991" cy="5165691"/>
          </a:xfrm>
          <a:prstGeom prst="rect">
            <a:avLst/>
          </a:prstGeom>
        </p:spPr>
      </p:pic>
      <p:sp>
        <p:nvSpPr>
          <p:cNvPr id="8" name="Espaço Reservado para Conteúdo 3">
            <a:extLst>
              <a:ext uri="{FF2B5EF4-FFF2-40B4-BE49-F238E27FC236}">
                <a16:creationId xmlns:a16="http://schemas.microsoft.com/office/drawing/2014/main" id="{18276359-75E5-7972-25FB-FCB2BE54CD84}"/>
              </a:ext>
            </a:extLst>
          </p:cNvPr>
          <p:cNvSpPr txBox="1">
            <a:spLocks/>
          </p:cNvSpPr>
          <p:nvPr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6930190" y="1159845"/>
            <a:ext cx="4822256" cy="4153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2500"/>
              </a:spcBef>
              <a:buFont typeface="Arial" panose="020B0604020202020204" pitchFamily="34" charset="0"/>
              <a:buNone/>
            </a:pPr>
            <a:endParaRPr lang="pt-BR" sz="1400" b="1" dirty="0"/>
          </a:p>
          <a:p>
            <a:pPr marL="342900" lvl="1" indent="-342900">
              <a:buFont typeface="Arial" panose="020B0604020202020204" pitchFamily="34" charset="0"/>
              <a:buAutoNum type="arabicPeriod"/>
            </a:pPr>
            <a:r>
              <a:rPr lang="pt-BR" sz="1400" b="1" dirty="0"/>
              <a:t>Para as órbitas com apenas um lançamento, não faz sentido o Box-</a:t>
            </a:r>
            <a:r>
              <a:rPr lang="pt-BR" sz="1400" b="1" dirty="0" err="1"/>
              <a:t>Plot</a:t>
            </a:r>
            <a:r>
              <a:rPr lang="pt-BR" sz="1400" b="1" dirty="0"/>
              <a:t>, estão completamente “achatados”</a:t>
            </a:r>
          </a:p>
          <a:p>
            <a:pPr marL="342900" lvl="1" indent="-342900">
              <a:buFont typeface="Arial" panose="020B0604020202020204" pitchFamily="34" charset="0"/>
              <a:buAutoNum type="arabicPeriod"/>
            </a:pPr>
            <a:r>
              <a:rPr lang="pt-BR" sz="1400" b="1" dirty="0"/>
              <a:t>Apesar de possuir 4 outliers, a órbita ISS parece possuir a distribuição “mais normal”</a:t>
            </a:r>
          </a:p>
          <a:p>
            <a:pPr marL="342900" lvl="1" indent="-342900">
              <a:buFont typeface="Arial" panose="020B0604020202020204" pitchFamily="34" charset="0"/>
              <a:buAutoNum type="arabicPeriod"/>
            </a:pPr>
            <a:r>
              <a:rPr lang="pt-BR" sz="1400" b="1" dirty="0"/>
              <a:t>GTO, LEO, MEO e SSO não possuem outliers</a:t>
            </a:r>
          </a:p>
          <a:p>
            <a:pPr marL="342900" lvl="1" indent="-342900">
              <a:buFont typeface="Arial" panose="020B0604020202020204" pitchFamily="34" charset="0"/>
              <a:buAutoNum type="arabicPeriod"/>
            </a:pPr>
            <a:r>
              <a:rPr lang="pt-BR" sz="1400" b="1" dirty="0"/>
              <a:t>SSO possui uma cauda mais acentuada à direita.</a:t>
            </a:r>
          </a:p>
          <a:p>
            <a:pPr marL="342900" lvl="1" indent="-342900">
              <a:buFont typeface="Arial" panose="020B0604020202020204" pitchFamily="34" charset="0"/>
              <a:buAutoNum type="arabicPeriod"/>
            </a:pPr>
            <a:r>
              <a:rPr lang="pt-BR" sz="1400" b="1" dirty="0"/>
              <a:t>LEO o 3Q e o limite superior são praticamente iguais</a:t>
            </a:r>
          </a:p>
          <a:p>
            <a:pPr marL="342900" lvl="1" indent="-342900">
              <a:buFont typeface="Arial" panose="020B0604020202020204" pitchFamily="34" charset="0"/>
              <a:buAutoNum type="arabicPeriod"/>
            </a:pPr>
            <a:endParaRPr lang="pt-BR" sz="1400" b="1" dirty="0"/>
          </a:p>
        </p:txBody>
      </p:sp>
    </p:spTree>
    <p:extLst>
      <p:ext uri="{BB962C8B-B14F-4D97-AF65-F5344CB8AC3E}">
        <p14:creationId xmlns:p14="http://schemas.microsoft.com/office/powerpoint/2010/main" val="383805211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43C8829-BBB4-C146-BBC4-667839CF33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8247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85" imgH="385" progId="TCLayout.ActiveDocument.1">
                  <p:embed/>
                </p:oleObj>
              </mc:Choice>
              <mc:Fallback>
                <p:oleObj name="Slide do think-cell" r:id="rId4" imgW="385" imgH="38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3C8829-BBB4-C146-BBC4-667839CF3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Espaço Reservado para Conteúdo 4" descr="Tiro de um empresário segurando um monte de balões de criptomoeda em cima de um gráfico contra um fundo branco">
            <a:extLst>
              <a:ext uri="{FF2B5EF4-FFF2-40B4-BE49-F238E27FC236}">
                <a16:creationId xmlns:a16="http://schemas.microsoft.com/office/drawing/2014/main" id="{CAFE0E53-0226-4CC8-9F31-C7832F216539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6"/>
          <a:srcRect r="1" b="729"/>
          <a:stretch/>
        </p:blipFill>
        <p:spPr>
          <a:xfrm>
            <a:off x="0" y="10"/>
            <a:ext cx="5574422" cy="4745245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AE275CD1-8D3C-0D05-4618-EBFB83961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2507" y="1358671"/>
            <a:ext cx="2843711" cy="1493327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-US" sz="3600" dirty="0" err="1"/>
              <a:t>Conclusões</a:t>
            </a:r>
            <a:r>
              <a:rPr lang="en-US" sz="3600" dirty="0"/>
              <a:t> DA AED POR GRÁFICO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BCB6C9DE-C506-BE15-A548-374415A0C2F7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2454443" y="3359338"/>
            <a:ext cx="9041778" cy="2862072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2500"/>
              </a:spcBef>
              <a:buNone/>
            </a:pPr>
            <a:endParaRPr lang="pt-BR" sz="1400" b="1" dirty="0"/>
          </a:p>
          <a:p>
            <a:pPr marL="0" lvl="1" indent="0">
              <a:buNone/>
            </a:pPr>
            <a:r>
              <a:rPr lang="pt-BR" sz="1400" dirty="0"/>
              <a:t>1 - carga útil: Há uma correlação positiva entre a carga útil e a taxa de sucesso. Quanto maior for a massa da carga útil, maior será a taxa de sucesso  </a:t>
            </a:r>
          </a:p>
          <a:p>
            <a:pPr marL="0" lvl="1" indent="0">
              <a:buNone/>
            </a:pPr>
            <a:endParaRPr lang="pt-BR" sz="1400" dirty="0"/>
          </a:p>
          <a:p>
            <a:pPr marL="0" lvl="1" indent="0">
              <a:buNone/>
            </a:pPr>
            <a:r>
              <a:rPr lang="pt-BR" sz="1400" dirty="0"/>
              <a:t>2 -Taxa de lançamento ao longo do tempo: A taxa de sucesso aumenta com o tempo</a:t>
            </a:r>
          </a:p>
          <a:p>
            <a:pPr marL="0" lvl="1" indent="0">
              <a:buNone/>
            </a:pPr>
            <a:endParaRPr lang="pt-BR" sz="1400" dirty="0"/>
          </a:p>
          <a:p>
            <a:pPr marL="0" lvl="1" indent="0">
              <a:buNone/>
            </a:pPr>
            <a:r>
              <a:rPr lang="pt-BR" sz="1400" dirty="0"/>
              <a:t>3 - Órbitas: Algumas órbitas (SSO, HEO, GEO e ES-L1) têm taxa de sucesso de 100%. Sendo que a última se destina a levar pessoas, o que faz sentido a busca por uma taxa de 100%!</a:t>
            </a:r>
          </a:p>
          <a:p>
            <a:pPr marL="0" lvl="1" indent="0">
              <a:buNone/>
            </a:pPr>
            <a:endParaRPr lang="pt-BR" sz="1400" dirty="0"/>
          </a:p>
          <a:p>
            <a:pPr marL="0" lvl="1" indent="0">
              <a:buNone/>
            </a:pPr>
            <a:r>
              <a:rPr lang="pt-BR" sz="1400" dirty="0"/>
              <a:t>4 – As análises com Box-</a:t>
            </a:r>
            <a:r>
              <a:rPr lang="pt-BR" sz="1400" dirty="0" err="1"/>
              <a:t>Plot</a:t>
            </a:r>
            <a:r>
              <a:rPr lang="pt-BR" sz="1400" dirty="0"/>
              <a:t> não foram significativas, talvez pela quantidade pequena de registros. </a:t>
            </a:r>
          </a:p>
        </p:txBody>
      </p:sp>
    </p:spTree>
    <p:extLst>
      <p:ext uri="{BB962C8B-B14F-4D97-AF65-F5344CB8AC3E}">
        <p14:creationId xmlns:p14="http://schemas.microsoft.com/office/powerpoint/2010/main" val="366396070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2AE6E58-22FB-59F0-08C9-EC7371D801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1699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AE6E58-22FB-59F0-08C9-EC7371D80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F298F03-E589-86BC-8EF3-6FD9D10B51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865" y="976160"/>
            <a:ext cx="8687095" cy="813063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400" dirty="0"/>
              <a:t>APRESENTAÇÃO- GRUPO 5</a:t>
            </a:r>
          </a:p>
        </p:txBody>
      </p:sp>
      <p:pic>
        <p:nvPicPr>
          <p:cNvPr id="2050" name="Picture 2" descr="Resultado de imagem para puc-rio ECOA">
            <a:extLst>
              <a:ext uri="{FF2B5EF4-FFF2-40B4-BE49-F238E27FC236}">
                <a16:creationId xmlns:a16="http://schemas.microsoft.com/office/drawing/2014/main" id="{F684D1B3-F071-4E30-A36C-8E8EEFC085F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333" b="32176"/>
          <a:stretch/>
        </p:blipFill>
        <p:spPr bwMode="auto">
          <a:xfrm>
            <a:off x="9689332" y="0"/>
            <a:ext cx="2419350" cy="625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tângulo 23">
            <a:extLst>
              <a:ext uri="{FF2B5EF4-FFF2-40B4-BE49-F238E27FC236}">
                <a16:creationId xmlns:a16="http://schemas.microsoft.com/office/drawing/2014/main" id="{13D30828-207D-85DC-5E90-20D7252BA474}"/>
              </a:ext>
            </a:extLst>
          </p:cNvPr>
          <p:cNvSpPr/>
          <p:nvPr/>
        </p:nvSpPr>
        <p:spPr>
          <a:xfrm>
            <a:off x="1032513" y="2442894"/>
            <a:ext cx="1127551" cy="731520"/>
          </a:xfrm>
          <a:prstGeom prst="rect">
            <a:avLst/>
          </a:prstGeom>
          <a:solidFill>
            <a:srgbClr val="E0B1E9"/>
          </a:solidFill>
          <a:ln w="28575" cap="rnd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82880" tIns="5715" rIns="91440" bIns="54011" numCol="1" spcCol="1270" rtlCol="0" anchor="ctr" anchorCtr="0">
            <a:noAutofit/>
            <a:flatTx/>
          </a:bodyPr>
          <a:lstStyle/>
          <a:p>
            <a:pPr defTabSz="40005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1000" b="1" dirty="0">
                <a:solidFill>
                  <a:schemeClr val="tx2">
                    <a:lumMod val="50000"/>
                  </a:schemeClr>
                </a:solidFill>
              </a:rPr>
              <a:t>Alexandre Fettermann</a:t>
            </a:r>
          </a:p>
          <a:p>
            <a:pPr defTabSz="40005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900" dirty="0">
                <a:solidFill>
                  <a:schemeClr val="tx1"/>
                </a:solidFill>
              </a:rPr>
              <a:t>Finanças &amp; TI</a:t>
            </a:r>
            <a:br>
              <a:rPr lang="pt-BR" sz="900" dirty="0">
                <a:solidFill>
                  <a:schemeClr val="tx1"/>
                </a:solidFill>
              </a:rPr>
            </a:br>
            <a:r>
              <a:rPr lang="pt-BR" sz="900" dirty="0" err="1">
                <a:solidFill>
                  <a:schemeClr val="tx1"/>
                </a:solidFill>
              </a:rPr>
              <a:t>Oléo</a:t>
            </a:r>
            <a:r>
              <a:rPr lang="pt-BR" sz="900" dirty="0">
                <a:solidFill>
                  <a:schemeClr val="tx1"/>
                </a:solidFill>
              </a:rPr>
              <a:t> &amp; Gás</a:t>
            </a:r>
          </a:p>
        </p:txBody>
      </p:sp>
      <p:pic>
        <p:nvPicPr>
          <p:cNvPr id="25" name="Imagem 24" descr="foto de rosto de um membro da equipe&#10;">
            <a:extLst>
              <a:ext uri="{FF2B5EF4-FFF2-40B4-BE49-F238E27FC236}">
                <a16:creationId xmlns:a16="http://schemas.microsoft.com/office/drawing/2014/main" id="{5B866A33-3C7B-5154-BD23-2F19227E09C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9654" t="6917" r="31504" b="4820"/>
          <a:stretch/>
        </p:blipFill>
        <p:spPr>
          <a:xfrm>
            <a:off x="2255383" y="2444009"/>
            <a:ext cx="731520" cy="731520"/>
          </a:xfrm>
          <a:prstGeom prst="rect">
            <a:avLst/>
          </a:prstGeom>
        </p:spPr>
      </p:pic>
      <p:sp>
        <p:nvSpPr>
          <p:cNvPr id="26" name="Retângulo 25">
            <a:extLst>
              <a:ext uri="{FF2B5EF4-FFF2-40B4-BE49-F238E27FC236}">
                <a16:creationId xmlns:a16="http://schemas.microsoft.com/office/drawing/2014/main" id="{18C7EC0C-6753-1A75-C88F-76012E67E031}"/>
              </a:ext>
            </a:extLst>
          </p:cNvPr>
          <p:cNvSpPr/>
          <p:nvPr/>
        </p:nvSpPr>
        <p:spPr>
          <a:xfrm>
            <a:off x="2975813" y="2442894"/>
            <a:ext cx="1127551" cy="731520"/>
          </a:xfrm>
          <a:prstGeom prst="rect">
            <a:avLst/>
          </a:prstGeom>
          <a:solidFill>
            <a:srgbClr val="8BEEF6"/>
          </a:solidFill>
          <a:ln w="28575" cap="rnd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82880" tIns="5715" rIns="91440" bIns="54011" numCol="1" spcCol="1270" rtlCol="0" anchor="ctr" anchorCtr="0">
            <a:noAutofit/>
            <a:flatTx/>
          </a:bodyPr>
          <a:lstStyle/>
          <a:p>
            <a:pPr defTabSz="40005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1000" b="1" dirty="0">
                <a:solidFill>
                  <a:schemeClr val="accent1">
                    <a:lumMod val="50000"/>
                  </a:schemeClr>
                </a:solidFill>
              </a:rPr>
              <a:t>XXX</a:t>
            </a:r>
            <a:endParaRPr lang="pt-BR" sz="900" dirty="0">
              <a:solidFill>
                <a:schemeClr val="tx1"/>
              </a:solidFill>
            </a:endParaRPr>
          </a:p>
        </p:txBody>
      </p:sp>
      <p:pic>
        <p:nvPicPr>
          <p:cNvPr id="27" name="Imagem 26" descr="foto de rosto de um membro da equipe&#10;">
            <a:extLst>
              <a:ext uri="{FF2B5EF4-FFF2-40B4-BE49-F238E27FC236}">
                <a16:creationId xmlns:a16="http://schemas.microsoft.com/office/drawing/2014/main" id="{1EDCC0B9-795A-E15F-FE07-1339B9458F2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8419" t="8610" r="22424" b="32653"/>
          <a:stretch/>
        </p:blipFill>
        <p:spPr>
          <a:xfrm>
            <a:off x="4207889" y="2444343"/>
            <a:ext cx="731520" cy="731520"/>
          </a:xfrm>
          <a:prstGeom prst="rect">
            <a:avLst/>
          </a:prstGeom>
        </p:spPr>
      </p:pic>
      <p:sp>
        <p:nvSpPr>
          <p:cNvPr id="28" name="Retângulo 27">
            <a:extLst>
              <a:ext uri="{FF2B5EF4-FFF2-40B4-BE49-F238E27FC236}">
                <a16:creationId xmlns:a16="http://schemas.microsoft.com/office/drawing/2014/main" id="{D0D435BE-C803-580C-98E9-1D501BAC030A}"/>
              </a:ext>
            </a:extLst>
          </p:cNvPr>
          <p:cNvSpPr/>
          <p:nvPr/>
        </p:nvSpPr>
        <p:spPr>
          <a:xfrm>
            <a:off x="4928319" y="2443228"/>
            <a:ext cx="1127551" cy="731520"/>
          </a:xfrm>
          <a:prstGeom prst="rect">
            <a:avLst/>
          </a:prstGeom>
          <a:solidFill>
            <a:srgbClr val="B6C3F5"/>
          </a:solidFill>
          <a:ln w="28575" cap="rnd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82880" tIns="5715" rIns="91440" bIns="54011" numCol="1" spcCol="1270" rtlCol="0" anchor="ctr" anchorCtr="0">
            <a:noAutofit/>
            <a:flatTx/>
          </a:bodyPr>
          <a:lstStyle/>
          <a:p>
            <a:pPr defTabSz="40005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1000" b="1" dirty="0">
                <a:solidFill>
                  <a:schemeClr val="accent2">
                    <a:lumMod val="50000"/>
                  </a:schemeClr>
                </a:solidFill>
              </a:rPr>
              <a:t>XXX</a:t>
            </a:r>
            <a:endParaRPr lang="pt-BR" sz="900" dirty="0">
              <a:solidFill>
                <a:schemeClr val="tx1"/>
              </a:solidFill>
            </a:endParaRPr>
          </a:p>
        </p:txBody>
      </p:sp>
      <p:pic>
        <p:nvPicPr>
          <p:cNvPr id="29" name="Imagem 28" descr="foto de rosto de um membro da equipe&#10;">
            <a:extLst>
              <a:ext uri="{FF2B5EF4-FFF2-40B4-BE49-F238E27FC236}">
                <a16:creationId xmlns:a16="http://schemas.microsoft.com/office/drawing/2014/main" id="{4067C394-CF6A-D895-5CAB-EE7AED27EA9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30068" t="7157" r="31288" b="34877"/>
          <a:stretch/>
        </p:blipFill>
        <p:spPr>
          <a:xfrm>
            <a:off x="6167194" y="2436211"/>
            <a:ext cx="731520" cy="731520"/>
          </a:xfrm>
          <a:prstGeom prst="rect">
            <a:avLst/>
          </a:prstGeom>
        </p:spPr>
      </p:pic>
      <p:sp>
        <p:nvSpPr>
          <p:cNvPr id="30" name="Retângulo 29">
            <a:extLst>
              <a:ext uri="{FF2B5EF4-FFF2-40B4-BE49-F238E27FC236}">
                <a16:creationId xmlns:a16="http://schemas.microsoft.com/office/drawing/2014/main" id="{FD478FA5-684F-6D63-B526-BA56A5B6ACB3}"/>
              </a:ext>
            </a:extLst>
          </p:cNvPr>
          <p:cNvSpPr/>
          <p:nvPr/>
        </p:nvSpPr>
        <p:spPr>
          <a:xfrm>
            <a:off x="6887624" y="2435096"/>
            <a:ext cx="1127551" cy="731520"/>
          </a:xfrm>
          <a:prstGeom prst="rect">
            <a:avLst/>
          </a:prstGeom>
          <a:solidFill>
            <a:srgbClr val="96EACA"/>
          </a:solidFill>
          <a:ln w="28575" cap="rnd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82880" tIns="5715" rIns="91440" bIns="54011" numCol="1" spcCol="1270" rtlCol="0" anchor="ctr" anchorCtr="0">
            <a:noAutofit/>
            <a:flatTx/>
          </a:bodyPr>
          <a:lstStyle/>
          <a:p>
            <a:pPr defTabSz="40005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1000" b="1" dirty="0">
                <a:solidFill>
                  <a:schemeClr val="accent3">
                    <a:lumMod val="50000"/>
                  </a:schemeClr>
                </a:solidFill>
              </a:rPr>
              <a:t>XXX</a:t>
            </a:r>
            <a:endParaRPr lang="pt-BR" sz="900" dirty="0">
              <a:solidFill>
                <a:schemeClr val="tx1"/>
              </a:solidFill>
            </a:endParaRPr>
          </a:p>
        </p:txBody>
      </p:sp>
      <p:pic>
        <p:nvPicPr>
          <p:cNvPr id="31" name="Imagem 30" descr="foto de rosto de um membro da equipe&#10;">
            <a:extLst>
              <a:ext uri="{FF2B5EF4-FFF2-40B4-BE49-F238E27FC236}">
                <a16:creationId xmlns:a16="http://schemas.microsoft.com/office/drawing/2014/main" id="{FFF9ADAF-419D-B85D-5A98-E65DE2B1545C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49413" t="15774" r="32824" b="57185"/>
          <a:stretch/>
        </p:blipFill>
        <p:spPr>
          <a:xfrm>
            <a:off x="8103189" y="2436571"/>
            <a:ext cx="731520" cy="731520"/>
          </a:xfrm>
          <a:prstGeom prst="rect">
            <a:avLst/>
          </a:prstGeom>
        </p:spPr>
      </p:pic>
      <p:sp>
        <p:nvSpPr>
          <p:cNvPr id="32" name="Retângulo 31">
            <a:extLst>
              <a:ext uri="{FF2B5EF4-FFF2-40B4-BE49-F238E27FC236}">
                <a16:creationId xmlns:a16="http://schemas.microsoft.com/office/drawing/2014/main" id="{09C619FD-9B0F-BA6F-DEC2-EE772829B5A3}"/>
              </a:ext>
            </a:extLst>
          </p:cNvPr>
          <p:cNvSpPr/>
          <p:nvPr/>
        </p:nvSpPr>
        <p:spPr>
          <a:xfrm>
            <a:off x="8823619" y="2435456"/>
            <a:ext cx="1127551" cy="731520"/>
          </a:xfrm>
          <a:prstGeom prst="rect">
            <a:avLst/>
          </a:prstGeom>
          <a:solidFill>
            <a:srgbClr val="93E2FF"/>
          </a:solidFill>
          <a:ln w="28575" cap="rnd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82880" tIns="5715" rIns="91440" bIns="54011" numCol="1" spcCol="1270" rtlCol="0" anchor="ctr" anchorCtr="0">
            <a:noAutofit/>
            <a:flatTx/>
          </a:bodyPr>
          <a:lstStyle/>
          <a:p>
            <a:pPr defTabSz="40005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1000" b="1" dirty="0">
                <a:solidFill>
                  <a:schemeClr val="accent6">
                    <a:lumMod val="50000"/>
                  </a:schemeClr>
                </a:solidFill>
              </a:rPr>
              <a:t>XXX</a:t>
            </a:r>
            <a:endParaRPr lang="pt-BR" sz="900" dirty="0">
              <a:solidFill>
                <a:schemeClr val="tx1"/>
              </a:solidFill>
            </a:endParaRPr>
          </a:p>
        </p:txBody>
      </p:sp>
      <p:pic>
        <p:nvPicPr>
          <p:cNvPr id="33" name="Imagem 32" descr="foto de rosto de um membro da equipe&#10;">
            <a:extLst>
              <a:ext uri="{FF2B5EF4-FFF2-40B4-BE49-F238E27FC236}">
                <a16:creationId xmlns:a16="http://schemas.microsoft.com/office/drawing/2014/main" id="{19AEDC2D-4D8C-FF1A-3C8C-5A420C00C5C6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30178" t="10854" r="25409" b="22527"/>
          <a:stretch/>
        </p:blipFill>
        <p:spPr>
          <a:xfrm>
            <a:off x="10049402" y="2435433"/>
            <a:ext cx="731520" cy="731520"/>
          </a:xfrm>
          <a:prstGeom prst="rect">
            <a:avLst/>
          </a:prstGeom>
        </p:spPr>
      </p:pic>
      <p:sp>
        <p:nvSpPr>
          <p:cNvPr id="34" name="Retângulo 33">
            <a:extLst>
              <a:ext uri="{FF2B5EF4-FFF2-40B4-BE49-F238E27FC236}">
                <a16:creationId xmlns:a16="http://schemas.microsoft.com/office/drawing/2014/main" id="{A5A9E728-F9AA-94EA-32AB-07D9A98C7887}"/>
              </a:ext>
            </a:extLst>
          </p:cNvPr>
          <p:cNvSpPr/>
          <p:nvPr/>
        </p:nvSpPr>
        <p:spPr>
          <a:xfrm>
            <a:off x="10769832" y="2434318"/>
            <a:ext cx="1127551" cy="731520"/>
          </a:xfrm>
          <a:prstGeom prst="rect">
            <a:avLst/>
          </a:prstGeom>
          <a:solidFill>
            <a:srgbClr val="8E9DEF"/>
          </a:solidFill>
          <a:ln w="28575" cap="rnd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82880" tIns="5715" rIns="91440" bIns="54011" numCol="1" spcCol="1270" rtlCol="0" anchor="ctr" anchorCtr="0">
            <a:noAutofit/>
            <a:flatTx/>
          </a:bodyPr>
          <a:lstStyle/>
          <a:p>
            <a:pPr defTabSz="40005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1000" b="1" dirty="0">
                <a:solidFill>
                  <a:schemeClr val="accent5">
                    <a:lumMod val="50000"/>
                  </a:schemeClr>
                </a:solidFill>
              </a:rPr>
              <a:t>XXX</a:t>
            </a:r>
            <a:endParaRPr lang="pt-BR" sz="900" dirty="0">
              <a:solidFill>
                <a:schemeClr val="tx1"/>
              </a:solidFill>
            </a:endParaRPr>
          </a:p>
        </p:txBody>
      </p:sp>
      <p:pic>
        <p:nvPicPr>
          <p:cNvPr id="63" name="Imagem 62">
            <a:extLst>
              <a:ext uri="{FF2B5EF4-FFF2-40B4-BE49-F238E27FC236}">
                <a16:creationId xmlns:a16="http://schemas.microsoft.com/office/drawing/2014/main" id="{BB0813E0-A83A-CD72-776E-BDB3A9F699F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10666" y="2442894"/>
            <a:ext cx="619814" cy="731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091900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4F9B95-9045-48D2-B9F3-2927E98F5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723900"/>
            <a:ext cx="10591800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85AA86F-6A4D-4BCB-A045-D992CDC295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10591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E49D7415-2F11-44C2-B6AA-13A25B6814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Gráfico com setas se movendo para cima.">
            <a:extLst>
              <a:ext uri="{FF2B5EF4-FFF2-40B4-BE49-F238E27FC236}">
                <a16:creationId xmlns:a16="http://schemas.microsoft.com/office/drawing/2014/main" id="{BCC14380-9352-4AD2-9D88-FEF2C7E39EE5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rcRect l="15752" r="31368"/>
          <a:stretch/>
        </p:blipFill>
        <p:spPr>
          <a:xfrm>
            <a:off x="6147816" y="10"/>
            <a:ext cx="6044184" cy="68579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A521BCDC-1259-C4FD-2ABF-DE9F75D18D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087" y="909637"/>
            <a:ext cx="4800600" cy="130759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US"/>
              <a:t>Medidas de tendência centra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D6B8B947-C9A6-3FF5-9514-4F999AD60935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704089" y="2221992"/>
            <a:ext cx="4800600" cy="3739896"/>
          </a:xfrm>
        </p:spPr>
        <p:txBody>
          <a:bodyPr>
            <a:normAutofit/>
          </a:bodyPr>
          <a:lstStyle/>
          <a:p>
            <a:pPr marL="0" indent="0">
              <a:spcBef>
                <a:spcPts val="2500"/>
              </a:spcBef>
              <a:buNone/>
            </a:pPr>
            <a:endParaRPr lang="pt-BR" sz="1400" b="1"/>
          </a:p>
          <a:p>
            <a:pPr marL="0" lvl="1" indent="0">
              <a:buNone/>
            </a:pPr>
            <a:r>
              <a:rPr lang="pt-BR" sz="1400"/>
              <a:t>As medidas de tendência central são ferramentas estatísticas usadas para descrever o comportamento central de conjuntos de dados. A média é a soma de todos os valores dividida pelo número de valores, a mediana é o valor que divide os dados em duas partes iguais e a moda é o valor que aparece mais frequentemente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11FC409-B3C2-4F68-865C-C5333D6F27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723900"/>
            <a:ext cx="4645152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810270D-76A7-44B3-9746-7EDF578860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464515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523450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4F9B95-9045-48D2-B9F3-2927E98F5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723900"/>
            <a:ext cx="10591800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85AA86F-6A4D-4BCB-A045-D992CDC295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10591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E49D7415-2F11-44C2-B6AA-13A25B6814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sto MT"/>
              <a:ea typeface="+mn-ea"/>
              <a:cs typeface="+mn-cs"/>
            </a:endParaRPr>
          </a:p>
        </p:txBody>
      </p:sp>
      <p:pic>
        <p:nvPicPr>
          <p:cNvPr id="5" name="Espaço Reservado para Conteúdo 4" descr="Planilha e calculadora">
            <a:extLst>
              <a:ext uri="{FF2B5EF4-FFF2-40B4-BE49-F238E27FC236}">
                <a16:creationId xmlns:a16="http://schemas.microsoft.com/office/drawing/2014/main" id="{1B4F16C3-D38A-4B99-9AAD-837D32C3867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rcRect l="2893" r="18692" b="-1"/>
          <a:stretch/>
        </p:blipFill>
        <p:spPr>
          <a:xfrm>
            <a:off x="-1" y="10"/>
            <a:ext cx="8056345" cy="68579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AE756AC4-6602-F3D0-2D84-21EF2E7085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2507" y="1358671"/>
            <a:ext cx="2843711" cy="1493327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/>
              <a:t>Medidas de dispersão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58C87163-534B-D26C-2E48-CEBEF08CF86F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8652509" y="3359338"/>
            <a:ext cx="2843711" cy="2862072"/>
          </a:xfrm>
        </p:spPr>
        <p:txBody>
          <a:bodyPr>
            <a:normAutofit/>
          </a:bodyPr>
          <a:lstStyle/>
          <a:p>
            <a:pPr marL="0" indent="0">
              <a:spcBef>
                <a:spcPts val="2500"/>
              </a:spcBef>
              <a:buNone/>
            </a:pPr>
            <a:endParaRPr lang="pt-BR" sz="1400" b="1"/>
          </a:p>
          <a:p>
            <a:pPr marL="0" lvl="1" indent="0">
              <a:buNone/>
            </a:pPr>
            <a:r>
              <a:rPr lang="pt-BR" sz="1400"/>
              <a:t>As medidas de dispersão são uma maneira de descrever a variabilidade dos dados. O desvio padrão, a variância e o intervalo interquartil são medidas comuns de dispersão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11FC409-B3C2-4F68-865C-C5333D6F27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741170" y="1172935"/>
            <a:ext cx="2653318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810270D-76A7-44B3-9746-7EDF578860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741170" y="3105667"/>
            <a:ext cx="265331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208221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4F9B95-9045-48D2-B9F3-2927E98F5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723900"/>
            <a:ext cx="10591800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85AA86F-6A4D-4BCB-A045-D992CDC295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10591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E49D7415-2F11-44C2-B6AA-13A25B6814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sto MT"/>
              <a:ea typeface="+mn-ea"/>
              <a:cs typeface="+mn-cs"/>
            </a:endParaRPr>
          </a:p>
        </p:txBody>
      </p:sp>
      <p:pic>
        <p:nvPicPr>
          <p:cNvPr id="5" name="Espaço Reservado para Conteúdo 4" descr="Uma imagem de uma radiação eletromagnética">
            <a:extLst>
              <a:ext uri="{FF2B5EF4-FFF2-40B4-BE49-F238E27FC236}">
                <a16:creationId xmlns:a16="http://schemas.microsoft.com/office/drawing/2014/main" id="{5B584973-B9CE-43EF-8EEB-F93844EF53BF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rcRect l="9083" r="12211" b="2"/>
          <a:stretch/>
        </p:blipFill>
        <p:spPr>
          <a:xfrm>
            <a:off x="-1" y="10"/>
            <a:ext cx="8056345" cy="68579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6766A1B7-D07C-B910-EA0A-812655FCC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2507" y="1358671"/>
            <a:ext cx="2843711" cy="149332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300"/>
              <a:t>Distribuição de Frequência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1B17990-7DB0-F756-7DE7-23348D040D69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8652509" y="3359338"/>
            <a:ext cx="2843711" cy="2862072"/>
          </a:xfrm>
        </p:spPr>
        <p:txBody>
          <a:bodyPr>
            <a:normAutofit/>
          </a:bodyPr>
          <a:lstStyle/>
          <a:p>
            <a:pPr marL="0" indent="0">
              <a:spcBef>
                <a:spcPts val="2500"/>
              </a:spcBef>
              <a:buNone/>
            </a:pPr>
            <a:endParaRPr lang="pt-BR" sz="1400" b="1"/>
          </a:p>
          <a:p>
            <a:pPr marL="0" lvl="1" indent="0">
              <a:buNone/>
            </a:pPr>
            <a:r>
              <a:rPr lang="pt-BR" sz="1400"/>
              <a:t>A distribuição de frequência é uma tabela que lista as frequências de cada valor ou intervalo de valores em um conjunto de dados. É útil para visualizar a distribuição dos dados e identificar padrões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11FC409-B3C2-4F68-865C-C5333D6F27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741170" y="1172935"/>
            <a:ext cx="2653318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810270D-76A7-44B3-9746-7EDF578860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741170" y="3105667"/>
            <a:ext cx="265331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108804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64F9B95-9045-48D2-B9F3-2927E98F5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723900"/>
            <a:ext cx="10591800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85AA86F-6A4D-4BCB-A045-D992CDC295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10591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DEF92653-5D6D-47E6-8744-0DAF76E049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sto MT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FD5CCCD7-E202-6E72-0818-C5B5FD73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4" y="1145308"/>
            <a:ext cx="7600263" cy="4860947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7600"/>
              <a:t>Estudo de correlações e relaçõ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7CEFA70-4D11-644F-D4FB-AFFE8747EC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755420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188371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wd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4F9B95-9045-48D2-B9F3-2927E98F5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723900"/>
            <a:ext cx="10591800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85AA86F-6A4D-4BCB-A045-D992CDC295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10591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E49D7415-2F11-44C2-B6AA-13A25B6814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Pasta de arquivos big data internet rede computação em nuvem">
            <a:extLst>
              <a:ext uri="{FF2B5EF4-FFF2-40B4-BE49-F238E27FC236}">
                <a16:creationId xmlns:a16="http://schemas.microsoft.com/office/drawing/2014/main" id="{E40BFC79-BA81-4E42-8521-7C99140CA806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rcRect l="22407" r="22510"/>
          <a:stretch/>
        </p:blipFill>
        <p:spPr>
          <a:xfrm>
            <a:off x="20" y="10"/>
            <a:ext cx="6044164" cy="68579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2593DF56-4268-57C6-D763-36D01BBBEB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6186" y="909637"/>
            <a:ext cx="4800600" cy="130759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3700"/>
              <a:t>Detecção de padrões e relaçõ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3C7D00A8-0FB9-EC92-CF60-3081FAB73E32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6696186" y="2221992"/>
            <a:ext cx="4800600" cy="3739896"/>
          </a:xfrm>
        </p:spPr>
        <p:txBody>
          <a:bodyPr>
            <a:normAutofit/>
          </a:bodyPr>
          <a:lstStyle/>
          <a:p>
            <a:pPr marL="0" indent="0">
              <a:spcBef>
                <a:spcPts val="2500"/>
              </a:spcBef>
              <a:buNone/>
            </a:pPr>
            <a:endParaRPr lang="pt-BR" sz="1400" b="1"/>
          </a:p>
          <a:p>
            <a:pPr marL="0" lvl="1" indent="0">
              <a:buNone/>
            </a:pPr>
            <a:r>
              <a:rPr lang="pt-BR" sz="1400"/>
              <a:t>A detecção de padrões e relações é uma técnica utilizada para identificar grupos de dados que compartilham características comuns. Duas técnicas populares são clusterização, que agrupa os dados em clusters ou grupos, e associação, que encontra relações frequentes entre os dados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11FC409-B3C2-4F68-865C-C5333D6F27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781300" y="723900"/>
            <a:ext cx="4610075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810270D-76A7-44B3-9746-7EDF578860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781300" y="6142781"/>
            <a:ext cx="46100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173531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4F9B95-9045-48D2-B9F3-2927E98F5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723900"/>
            <a:ext cx="10591800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85AA86F-6A4D-4BCB-A045-D992CDC295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10591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E49D7415-2F11-44C2-B6AA-13A25B6814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sto MT"/>
              <a:ea typeface="+mn-ea"/>
              <a:cs typeface="+mn-cs"/>
            </a:endParaRPr>
          </a:p>
        </p:txBody>
      </p:sp>
      <p:pic>
        <p:nvPicPr>
          <p:cNvPr id="5" name="Espaço Reservado para Conteúdo 4" descr="Linhas e esferas em movimento caóticas, inteligência artificial, complexidade de espaços em mudança">
            <a:extLst>
              <a:ext uri="{FF2B5EF4-FFF2-40B4-BE49-F238E27FC236}">
                <a16:creationId xmlns:a16="http://schemas.microsoft.com/office/drawing/2014/main" id="{5D99B8B2-9D02-4C6B-8540-8C6BBD00E59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rcRect l="4669" r="16916" b="-1"/>
          <a:stretch/>
        </p:blipFill>
        <p:spPr>
          <a:xfrm>
            <a:off x="-1" y="10"/>
            <a:ext cx="8056345" cy="68579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9BF68A5-3181-48B7-6368-8BDBF27D2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2507" y="1358671"/>
            <a:ext cx="2843711" cy="149332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100"/>
              <a:t>Utilização de matrizes de correlação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7D601CB3-E956-7C8D-22A9-0D3D27A0C4A5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8652509" y="3359338"/>
            <a:ext cx="2843711" cy="2862072"/>
          </a:xfrm>
        </p:spPr>
        <p:txBody>
          <a:bodyPr>
            <a:normAutofit/>
          </a:bodyPr>
          <a:lstStyle/>
          <a:p>
            <a:pPr marL="0" indent="0">
              <a:spcBef>
                <a:spcPts val="2500"/>
              </a:spcBef>
              <a:buNone/>
            </a:pPr>
            <a:endParaRPr lang="pt-BR" sz="1400" b="1"/>
          </a:p>
          <a:p>
            <a:pPr marL="0" lvl="1" indent="0">
              <a:buNone/>
            </a:pPr>
            <a:r>
              <a:rPr lang="pt-BR" sz="1400"/>
              <a:t>As matrizes de correlação são uma ferramenta útil para visualizar as correlações entre várias variáveis e ajudam a identificar padrões em grandes conjuntos de dados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11FC409-B3C2-4F68-865C-C5333D6F27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741170" y="1172935"/>
            <a:ext cx="2653318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810270D-76A7-44B3-9746-7EDF578860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741170" y="3105667"/>
            <a:ext cx="265331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316155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5F710FDB-0919-493E-8539-8240C23F1E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sto MT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DC52D2A-8CDC-50C3-934C-8ABAD80BB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3896" y="1448648"/>
            <a:ext cx="4539728" cy="1889335"/>
          </a:xfrm>
        </p:spPr>
        <p:txBody>
          <a:bodyPr anchor="b">
            <a:normAutofit/>
          </a:bodyPr>
          <a:lstStyle/>
          <a:p>
            <a:r>
              <a:rPr lang="pt-BR" sz="6000"/>
              <a:t>Conclusã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874A334-3BF9-D3FE-3012-06267201CB9D}"/>
              </a:ext>
            </a:extLst>
          </p:cNvPr>
          <p:cNvSpPr>
            <a:spLocks noGrp="1"/>
          </p:cNvSpPr>
          <p:nvPr>
            <p:ph idx="1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6201017" y="2413267"/>
            <a:ext cx="4864141" cy="2220681"/>
          </a:xfrm>
        </p:spPr>
        <p:txBody>
          <a:bodyPr>
            <a:normAutofit/>
          </a:bodyPr>
          <a:lstStyle/>
          <a:p>
            <a:pPr marL="0" indent="0">
              <a:spcBef>
                <a:spcPts val="2500"/>
              </a:spcBef>
              <a:buNone/>
            </a:pPr>
            <a:endParaRPr lang="pt-BR" sz="1400" b="1" dirty="0"/>
          </a:p>
          <a:p>
            <a:pPr marL="0" lvl="1" indent="0">
              <a:buNone/>
            </a:pPr>
            <a:r>
              <a:rPr lang="pt-BR" sz="1400" dirty="0"/>
              <a:t>XXXXXX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D471FCA-51F3-0CB9-6D05-35BBFDB615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050816" y="3551551"/>
            <a:ext cx="4178808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88805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E26130E-3AB5-7A9F-83D6-C3624EC5E2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7887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85" imgH="385" progId="TCLayout.ActiveDocument.1">
                  <p:embed/>
                </p:oleObj>
              </mc:Choice>
              <mc:Fallback>
                <p:oleObj name="Slide do think-cell" r:id="rId4" imgW="385" imgH="38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26130E-3AB5-7A9F-83D6-C3624EC5E2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219E5E74-9587-659B-6A2C-CA14F7C08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4" y="1145308"/>
            <a:ext cx="7600263" cy="4860947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7600" dirty="0"/>
              <a:t>Falcon 9 </a:t>
            </a:r>
          </a:p>
        </p:txBody>
      </p:sp>
      <p:pic>
        <p:nvPicPr>
          <p:cNvPr id="1026" name="Picture 2" descr="Ground-level view of a Falcon 9 lifting off from its launch pad">
            <a:hlinkClick r:id="rId6"/>
            <a:extLst>
              <a:ext uri="{FF2B5EF4-FFF2-40B4-BE49-F238E27FC236}">
                <a16:creationId xmlns:a16="http://schemas.microsoft.com/office/drawing/2014/main" id="{475FD629-08D4-D6A9-F701-003DF884B2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5587" y="2092898"/>
            <a:ext cx="3139641" cy="3753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Logo of the Falcon 9">
            <a:extLst>
              <a:ext uri="{FF2B5EF4-FFF2-40B4-BE49-F238E27FC236}">
                <a16:creationId xmlns:a16="http://schemas.microsoft.com/office/drawing/2014/main" id="{464F5EA8-7FFB-FA17-7999-F2F9C4A8D1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2032" y="1420494"/>
            <a:ext cx="66675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662B5B91-69E4-93B6-DBE3-77E7A6033FB6}"/>
              </a:ext>
            </a:extLst>
          </p:cNvPr>
          <p:cNvSpPr txBox="1"/>
          <p:nvPr/>
        </p:nvSpPr>
        <p:spPr>
          <a:xfrm>
            <a:off x="7947167" y="6202409"/>
            <a:ext cx="34880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000" dirty="0"/>
              <a:t>Imagens retiradas de </a:t>
            </a:r>
            <a:r>
              <a:rPr lang="pt-BR" sz="1000" dirty="0">
                <a:hlinkClick r:id="rId9"/>
              </a:rPr>
              <a:t>Falcon 9 – Wikipedia</a:t>
            </a:r>
            <a:r>
              <a:rPr lang="pt-BR" sz="10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2183112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wd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B0F964-FA36-D582-5858-D02AC3D57C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1222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85" imgH="385" progId="TCLayout.ActiveDocument.1">
                  <p:embed/>
                </p:oleObj>
              </mc:Choice>
              <mc:Fallback>
                <p:oleObj name="Slide do think-cell" r:id="rId4" imgW="385" imgH="38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B0F964-FA36-D582-5858-D02AC3D57C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72EE213D-FA4A-5CE8-E6AC-8178B39B01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086" y="914400"/>
            <a:ext cx="4286847" cy="1915427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 err="1"/>
              <a:t>Principais</a:t>
            </a:r>
            <a:r>
              <a:rPr lang="en-US" dirty="0"/>
              <a:t> CARACTERÍSTICA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0B5EF84B-A4A4-5FCC-1B95-4F5679F15A7C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5088395" y="914400"/>
            <a:ext cx="6388222" cy="4781072"/>
          </a:xfrm>
        </p:spPr>
        <p:txBody>
          <a:bodyPr anchor="ctr" anchorCtr="0">
            <a:normAutofit fontScale="92500" lnSpcReduction="20000"/>
          </a:bodyPr>
          <a:lstStyle/>
          <a:p>
            <a:pPr marL="0" indent="0" algn="just">
              <a:lnSpc>
                <a:spcPct val="150000"/>
              </a:lnSpc>
              <a:spcBef>
                <a:spcPts val="2500"/>
              </a:spcBef>
              <a:buNone/>
            </a:pPr>
            <a:r>
              <a:rPr lang="pt-BR" dirty="0"/>
              <a:t>O </a:t>
            </a:r>
            <a:r>
              <a:rPr lang="pt-BR" b="1" dirty="0"/>
              <a:t>Falcon 9®</a:t>
            </a:r>
            <a:r>
              <a:rPr lang="pt-BR" dirty="0"/>
              <a:t>, da </a:t>
            </a:r>
            <a:r>
              <a:rPr lang="pt-BR" b="1" dirty="0" err="1"/>
              <a:t>SpaceX</a:t>
            </a:r>
            <a:r>
              <a:rPr lang="pt-BR" b="1" dirty="0"/>
              <a:t>®</a:t>
            </a:r>
            <a:r>
              <a:rPr lang="pt-BR" dirty="0"/>
              <a:t>, é um </a:t>
            </a:r>
            <a:r>
              <a:rPr lang="pt-BR" b="1" dirty="0"/>
              <a:t>foguete</a:t>
            </a:r>
            <a:r>
              <a:rPr lang="pt-BR" dirty="0"/>
              <a:t> de </a:t>
            </a:r>
            <a:r>
              <a:rPr lang="pt-BR" b="1" dirty="0"/>
              <a:t>dois</a:t>
            </a:r>
            <a:r>
              <a:rPr lang="pt-BR" dirty="0"/>
              <a:t> </a:t>
            </a:r>
            <a:r>
              <a:rPr lang="pt-BR" b="1" dirty="0"/>
              <a:t>estágios</a:t>
            </a:r>
            <a:r>
              <a:rPr lang="pt-BR" dirty="0"/>
              <a:t>, </a:t>
            </a:r>
            <a:r>
              <a:rPr lang="pt-BR" b="1" dirty="0"/>
              <a:t>parcialmente reutilizável</a:t>
            </a:r>
            <a:r>
              <a:rPr lang="pt-BR" dirty="0"/>
              <a:t>, usado para missões orbitais. Lançado pela primeira vez em 2010 e com a primeira missão comercial de reabastecimento em 2012, tornou-se o primeiro foguete comercial a enviar humanos à órbita em 2020. O Falcon 9 </a:t>
            </a:r>
            <a:r>
              <a:rPr lang="pt-BR" b="1" dirty="0"/>
              <a:t>detém um histórico de segurança impressionante, com 394 lançamentos bem-sucedidos</a:t>
            </a:r>
            <a:r>
              <a:rPr lang="pt-BR" dirty="0"/>
              <a:t> e </a:t>
            </a:r>
            <a:r>
              <a:rPr lang="pt-BR" b="1" dirty="0"/>
              <a:t>é o foguete orbital americano mais lançado</a:t>
            </a:r>
            <a:r>
              <a:rPr lang="pt-BR" dirty="0"/>
              <a:t>. O </a:t>
            </a:r>
            <a:r>
              <a:rPr lang="pt-BR" i="1" dirty="0" err="1"/>
              <a:t>booster</a:t>
            </a:r>
            <a:r>
              <a:rPr lang="pt-BR" dirty="0"/>
              <a:t> do primeiro estágio pode pousar verticalmente para reutilização, com 354 aterrissagens bem-sucedidas até novembro de 2024. </a:t>
            </a:r>
            <a:r>
              <a:rPr lang="pt-BR" b="1" dirty="0"/>
              <a:t>Em janeiro de 2021, o Falcon 9 lançou 143 satélites em um único voo</a:t>
            </a:r>
            <a:endParaRPr lang="pt-BR" sz="1400" b="1" dirty="0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55A40C05-58B5-2104-3F95-C8211ADDF0BA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547" y="2970942"/>
            <a:ext cx="4286848" cy="2724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CaixaDeTexto 22">
            <a:extLst>
              <a:ext uri="{FF2B5EF4-FFF2-40B4-BE49-F238E27FC236}">
                <a16:creationId xmlns:a16="http://schemas.microsoft.com/office/drawing/2014/main" id="{1E0F945A-935A-A45A-F986-C17B5B14A54B}"/>
              </a:ext>
            </a:extLst>
          </p:cNvPr>
          <p:cNvSpPr txBox="1"/>
          <p:nvPr/>
        </p:nvSpPr>
        <p:spPr>
          <a:xfrm>
            <a:off x="885524" y="5685044"/>
            <a:ext cx="41054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/>
              <a:t>Imagens retiradas de </a:t>
            </a:r>
            <a:r>
              <a:rPr lang="pt-BR" sz="1000" dirty="0">
                <a:hlinkClick r:id="rId7"/>
              </a:rPr>
              <a:t>Falcon 9 – Wikipedia</a:t>
            </a:r>
            <a:r>
              <a:rPr lang="pt-BR" sz="1000" dirty="0"/>
              <a:t> </a:t>
            </a: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5B20B368-AB72-1DCD-C8A0-77FC1A4ACFEA}"/>
              </a:ext>
            </a:extLst>
          </p:cNvPr>
          <p:cNvSpPr txBox="1"/>
          <p:nvPr/>
        </p:nvSpPr>
        <p:spPr>
          <a:xfrm>
            <a:off x="5148364" y="5685043"/>
            <a:ext cx="63282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000" dirty="0"/>
              <a:t>Texto adaptado e traduzido pelo </a:t>
            </a:r>
            <a:r>
              <a:rPr lang="pt-BR" sz="1000" dirty="0" err="1"/>
              <a:t>CoPilot</a:t>
            </a:r>
            <a:r>
              <a:rPr lang="pt-BR" sz="1000" dirty="0"/>
              <a:t> a partir de </a:t>
            </a:r>
            <a:r>
              <a:rPr lang="pt-BR" sz="1000" dirty="0">
                <a:hlinkClick r:id="rId7"/>
              </a:rPr>
              <a:t>Falcon 9 – Wikipedia</a:t>
            </a:r>
            <a:r>
              <a:rPr lang="pt-BR" sz="10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4883503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B0F964-FA36-D582-5858-D02AC3D57C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2266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85" imgH="385" progId="TCLayout.ActiveDocument.1">
                  <p:embed/>
                </p:oleObj>
              </mc:Choice>
              <mc:Fallback>
                <p:oleObj name="Slide do think-cell" r:id="rId4" imgW="385" imgH="38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B0F964-FA36-D582-5858-D02AC3D57C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72EE213D-FA4A-5CE8-E6AC-8178B39B01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086" y="914400"/>
            <a:ext cx="10689338" cy="798897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LANÇAMENTO &amp; ATERRISSAGEM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1E0F945A-935A-A45A-F986-C17B5B14A54B}"/>
              </a:ext>
            </a:extLst>
          </p:cNvPr>
          <p:cNvSpPr txBox="1"/>
          <p:nvPr/>
        </p:nvSpPr>
        <p:spPr>
          <a:xfrm>
            <a:off x="885524" y="5685044"/>
            <a:ext cx="41054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/>
              <a:t>Imagens retiradas de </a:t>
            </a:r>
            <a:r>
              <a:rPr lang="pt-BR" sz="1000" dirty="0">
                <a:hlinkClick r:id="rId6"/>
              </a:rPr>
              <a:t>Falcon 9 – Wikipedia</a:t>
            </a:r>
            <a:r>
              <a:rPr lang="pt-BR" sz="1000" dirty="0"/>
              <a:t> </a:t>
            </a:r>
          </a:p>
        </p:txBody>
      </p:sp>
      <p:sp>
        <p:nvSpPr>
          <p:cNvPr id="5" name="Espaço Reservado para Conteúdo 4">
            <a:extLst>
              <a:ext uri="{FF2B5EF4-FFF2-40B4-BE49-F238E27FC236}">
                <a16:creationId xmlns:a16="http://schemas.microsoft.com/office/drawing/2014/main" id="{DDFF3F10-5352-6062-D105-5F7B602D9D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80558" y="1638374"/>
            <a:ext cx="2918162" cy="4419133"/>
          </a:xfrm>
        </p:spPr>
        <p:txBody>
          <a:bodyPr>
            <a:normAutofit fontScale="92500"/>
          </a:bodyPr>
          <a:lstStyle/>
          <a:p>
            <a:r>
              <a:rPr lang="pt-BR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 foguete possui dois estágios. </a:t>
            </a:r>
          </a:p>
          <a:p>
            <a:r>
              <a:rPr lang="pt-BR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 primeiro estágio (</a:t>
            </a:r>
            <a:r>
              <a:rPr lang="pt-BR" sz="1800" i="1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ooster</a:t>
            </a:r>
            <a:r>
              <a:rPr lang="pt-BR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) leva o segundo estágio e a carga útil a uma velocidade e altitude predeterminadas, </a:t>
            </a:r>
          </a:p>
          <a:p>
            <a:r>
              <a:rPr lang="pt-BR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a sequência, o segundo estágio acelera a carga útil para sua órbita alvo.</a:t>
            </a:r>
          </a:p>
          <a:p>
            <a:r>
              <a:rPr lang="pt-BR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O </a:t>
            </a:r>
            <a:r>
              <a:rPr lang="pt-BR" sz="1800" i="1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ooster</a:t>
            </a:r>
            <a:r>
              <a:rPr lang="pt-BR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é capaz de aterrissar verticalmente para facilitar a reutilização, </a:t>
            </a:r>
            <a:endParaRPr lang="pt-BR" dirty="0"/>
          </a:p>
        </p:txBody>
      </p:sp>
      <p:pic>
        <p:nvPicPr>
          <p:cNvPr id="16" name="Espaço Reservado para Conteúdo 15" descr="Diagrama&#10;&#10;Descrição gerada automaticamente">
            <a:extLst>
              <a:ext uri="{FF2B5EF4-FFF2-40B4-BE49-F238E27FC236}">
                <a16:creationId xmlns:a16="http://schemas.microsoft.com/office/drawing/2014/main" id="{0095618B-6896-9759-ED2A-3D8C577A1EAF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086" y="1638375"/>
            <a:ext cx="7762228" cy="4419133"/>
          </a:xfrm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EA969FD7-EC7F-C164-23B3-448082DFC332}"/>
              </a:ext>
            </a:extLst>
          </p:cNvPr>
          <p:cNvSpPr txBox="1"/>
          <p:nvPr/>
        </p:nvSpPr>
        <p:spPr>
          <a:xfrm>
            <a:off x="718331" y="6269786"/>
            <a:ext cx="77622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000" dirty="0"/>
              <a:t>Imagens retiradas de </a:t>
            </a:r>
            <a:r>
              <a:rPr lang="pt-BR" sz="1000" dirty="0" err="1"/>
              <a:t>SpaceX</a:t>
            </a:r>
            <a:r>
              <a:rPr lang="pt-BR" sz="1000" dirty="0"/>
              <a:t> </a:t>
            </a:r>
            <a:r>
              <a:rPr lang="pt-BR" sz="1000" dirty="0" err="1"/>
              <a:t>Photos</a:t>
            </a:r>
            <a:r>
              <a:rPr lang="pt-BR" sz="1000" dirty="0"/>
              <a:t> - https://www.flickr.com/</a:t>
            </a:r>
            <a:r>
              <a:rPr lang="pt-BR" sz="1000" dirty="0" err="1"/>
              <a:t>photos</a:t>
            </a:r>
            <a:r>
              <a:rPr lang="pt-BR" sz="1000" dirty="0"/>
              <a:t>/</a:t>
            </a:r>
            <a:r>
              <a:rPr lang="pt-BR" sz="1000" dirty="0" err="1"/>
              <a:t>spacexphotos</a:t>
            </a:r>
            <a:r>
              <a:rPr lang="pt-BR" sz="1000" dirty="0"/>
              <a:t>/16892430560/, CC0, https://commons.wikimedia.org/w/index.php?curid=39475604</a:t>
            </a:r>
          </a:p>
        </p:txBody>
      </p:sp>
    </p:spTree>
    <p:extLst>
      <p:ext uri="{BB962C8B-B14F-4D97-AF65-F5344CB8AC3E}">
        <p14:creationId xmlns:p14="http://schemas.microsoft.com/office/powerpoint/2010/main" val="40196169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B0F964-FA36-D582-5858-D02AC3D57C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6579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85" imgH="385" progId="TCLayout.ActiveDocument.1">
                  <p:embed/>
                </p:oleObj>
              </mc:Choice>
              <mc:Fallback>
                <p:oleObj name="Slide do think-cell" r:id="rId4" imgW="385" imgH="38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B0F964-FA36-D582-5858-D02AC3D57C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ítulo 14">
            <a:extLst>
              <a:ext uri="{FF2B5EF4-FFF2-40B4-BE49-F238E27FC236}">
                <a16:creationId xmlns:a16="http://schemas.microsoft.com/office/drawing/2014/main" id="{B644DA37-86D0-2921-1E5C-2588FF094A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pt-BR" dirty="0"/>
              <a:t>eventos analisados e diferencial competitivo</a:t>
            </a:r>
          </a:p>
        </p:txBody>
      </p:sp>
      <p:pic>
        <p:nvPicPr>
          <p:cNvPr id="12" name="Espaço Reservado para Conteúdo 11" descr="Avião no gramado&#10;&#10;Descrição gerada automaticamente">
            <a:extLst>
              <a:ext uri="{FF2B5EF4-FFF2-40B4-BE49-F238E27FC236}">
                <a16:creationId xmlns:a16="http://schemas.microsoft.com/office/drawing/2014/main" id="{6FB0EF47-A7A9-4167-CA5A-8B88DB337399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731" y="2867218"/>
            <a:ext cx="4572000" cy="2514600"/>
          </a:xfrm>
        </p:spPr>
      </p:pic>
      <p:pic>
        <p:nvPicPr>
          <p:cNvPr id="20" name="Espaço Reservado para Conteúdo 19" descr="Tela de computador com fundo azul&#10;&#10;Descrição gerada automaticamente com confiança média">
            <a:extLst>
              <a:ext uri="{FF2B5EF4-FFF2-40B4-BE49-F238E27FC236}">
                <a16:creationId xmlns:a16="http://schemas.microsoft.com/office/drawing/2014/main" id="{C21DC03D-561D-BB26-2FCA-E5A7D335B13D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1746" y="2873116"/>
            <a:ext cx="4500589" cy="2508702"/>
          </a:xfrm>
        </p:spPr>
      </p:pic>
      <p:sp>
        <p:nvSpPr>
          <p:cNvPr id="23" name="CaixaDeTexto 22">
            <a:extLst>
              <a:ext uri="{FF2B5EF4-FFF2-40B4-BE49-F238E27FC236}">
                <a16:creationId xmlns:a16="http://schemas.microsoft.com/office/drawing/2014/main" id="{1E0F945A-935A-A45A-F986-C17B5B14A54B}"/>
              </a:ext>
            </a:extLst>
          </p:cNvPr>
          <p:cNvSpPr txBox="1"/>
          <p:nvPr/>
        </p:nvSpPr>
        <p:spPr>
          <a:xfrm>
            <a:off x="-182880" y="6516007"/>
            <a:ext cx="115747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000" dirty="0"/>
              <a:t>Imagens retiradas de </a:t>
            </a:r>
            <a:r>
              <a:rPr lang="pt-BR" sz="1000" b="0" u="sng" dirty="0">
                <a:solidFill>
                  <a:srgbClr val="0070C0"/>
                </a:solidFill>
                <a:effectLst/>
                <a:latin typeface="Consolas" panose="020B0609020204030204" pitchFamily="49" charset="0"/>
              </a:rPr>
              <a:t>https://cf-courses-data.s3.us.cloud-object-storage.appdomain.cloud/IBMDeveloperSkillsNetwork-DS0701EN-SkillsNetwork/api/Images/</a:t>
            </a:r>
            <a:endParaRPr lang="pt-BR" sz="1000" dirty="0">
              <a:solidFill>
                <a:srgbClr val="0070C0"/>
              </a:solidFill>
            </a:endParaRP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EA969FD7-EC7F-C164-23B3-448082DFC332}"/>
              </a:ext>
            </a:extLst>
          </p:cNvPr>
          <p:cNvSpPr txBox="1"/>
          <p:nvPr/>
        </p:nvSpPr>
        <p:spPr>
          <a:xfrm>
            <a:off x="718331" y="6269786"/>
            <a:ext cx="103699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b="1" i="0" dirty="0">
                <a:solidFill>
                  <a:srgbClr val="151515"/>
                </a:solidFill>
                <a:effectLst/>
                <a:latin typeface="SuisseIntl"/>
              </a:rPr>
              <a:t>1 - SpaceX: Elon Musk breaks down the cost of reusable rockets - </a:t>
            </a:r>
            <a:r>
              <a:rPr lang="en-US" sz="1000" dirty="0">
                <a:hlinkClick r:id="rId8"/>
              </a:rPr>
              <a:t>SpaceX: Elon Musk breaks down the cost of reusable rockets</a:t>
            </a:r>
            <a:endParaRPr lang="pt-BR" sz="1000" dirty="0"/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9E519457-11B8-83CC-1158-7A9B61A94109}"/>
              </a:ext>
            </a:extLst>
          </p:cNvPr>
          <p:cNvSpPr txBox="1"/>
          <p:nvPr/>
        </p:nvSpPr>
        <p:spPr>
          <a:xfrm>
            <a:off x="936140" y="1921262"/>
            <a:ext cx="999619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Consolas" panose="020B0609020204030204" pitchFamily="49" charset="0"/>
              </a:rPr>
              <a:t>“SpaceX® advertises Falcon 9 rocket launches on its website with a cost of </a:t>
            </a:r>
            <a:r>
              <a:rPr lang="en-US" b="1" dirty="0">
                <a:solidFill>
                  <a:srgbClr val="92D050"/>
                </a:solidFill>
                <a:effectLst/>
                <a:latin typeface="Consolas" panose="020B0609020204030204" pitchFamily="49" charset="0"/>
              </a:rPr>
              <a:t>62 million dollars; other providers cost upward of 165 million dollars each</a:t>
            </a:r>
            <a:r>
              <a:rPr lang="en-US" b="1" dirty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Consolas" panose="020B0609020204030204" pitchFamily="49" charset="0"/>
              </a:rPr>
              <a:t>, much of the </a:t>
            </a:r>
            <a:r>
              <a:rPr lang="en-US" b="1" dirty="0">
                <a:solidFill>
                  <a:srgbClr val="92D050"/>
                </a:solidFill>
                <a:effectLst/>
                <a:latin typeface="Consolas" panose="020B0609020204030204" pitchFamily="49" charset="0"/>
              </a:rPr>
              <a:t>savings is due to the fact that SpaceX can reuse the first stage</a:t>
            </a:r>
            <a:r>
              <a:rPr lang="en-US" b="1" dirty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Consolas" panose="020B0609020204030204" pitchFamily="49" charset="0"/>
              </a:rPr>
              <a:t>.” </a:t>
            </a:r>
            <a:r>
              <a:rPr lang="pt-BR" b="1" baseline="30000" dirty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Consolas" panose="020B0609020204030204" pitchFamily="49" charset="0"/>
              </a:rPr>
              <a:t>1</a:t>
            </a:r>
            <a:endParaRPr lang="en-US" b="1" dirty="0">
              <a:solidFill>
                <a:schemeClr val="tx2">
                  <a:lumMod val="50000"/>
                  <a:lumOff val="50000"/>
                </a:schemeClr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0975D717-8CBB-3982-6068-B69C6114F2CF}"/>
              </a:ext>
            </a:extLst>
          </p:cNvPr>
          <p:cNvSpPr txBox="1"/>
          <p:nvPr/>
        </p:nvSpPr>
        <p:spPr>
          <a:xfrm>
            <a:off x="1024731" y="5592678"/>
            <a:ext cx="990760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1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Consolas" panose="020B0609020204030204" pitchFamily="49" charset="0"/>
              </a:defRPr>
            </a:lvl1pPr>
          </a:lstStyle>
          <a:p>
            <a:pPr algn="ctr"/>
            <a:r>
              <a:rPr lang="en-US" dirty="0"/>
              <a:t>A SpaceX® </a:t>
            </a:r>
            <a:r>
              <a:rPr lang="en-US" dirty="0" err="1"/>
              <a:t>realiza</a:t>
            </a:r>
            <a:r>
              <a:rPr lang="en-US" dirty="0"/>
              <a:t> </a:t>
            </a:r>
            <a:r>
              <a:rPr lang="en-US" dirty="0" err="1"/>
              <a:t>pousos</a:t>
            </a:r>
            <a:r>
              <a:rPr lang="en-US" dirty="0"/>
              <a:t> </a:t>
            </a:r>
            <a:r>
              <a:rPr lang="en-US" dirty="0" err="1"/>
              <a:t>controlados</a:t>
            </a:r>
            <a:r>
              <a:rPr lang="en-US" dirty="0"/>
              <a:t> no mar e </a:t>
            </a:r>
            <a:r>
              <a:rPr lang="en-US" dirty="0" err="1"/>
              <a:t>em</a:t>
            </a:r>
            <a:r>
              <a:rPr lang="en-US" dirty="0"/>
              <a:t> terra</a:t>
            </a:r>
          </a:p>
        </p:txBody>
      </p:sp>
    </p:spTree>
    <p:extLst>
      <p:ext uri="{BB962C8B-B14F-4D97-AF65-F5344CB8AC3E}">
        <p14:creationId xmlns:p14="http://schemas.microsoft.com/office/powerpoint/2010/main" val="408837847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64F9B95-9045-48D2-B9F3-2927E98F5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723900"/>
            <a:ext cx="10591800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85AA86F-6A4D-4BCB-A045-D992CDC295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10591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DEF92653-5D6D-47E6-8744-0DAF76E049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sto MT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8DFFEF4-705A-E3F6-F868-9F9FECA98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4" y="1145308"/>
            <a:ext cx="7600263" cy="4860947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7600"/>
              <a:t>Coleta e Preparação dos Dado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7CEFA70-4D11-644F-D4FB-AFFE8747EC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755420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075542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4F9B95-9045-48D2-B9F3-2927E98F5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723900"/>
            <a:ext cx="10591800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85AA86F-6A4D-4BCB-A045-D992CDC295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00100" y="6142781"/>
            <a:ext cx="10591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660EB578-C970-4186-B93C-45851BBC6E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Sala de servidores com empresário.">
            <a:extLst>
              <a:ext uri="{FF2B5EF4-FFF2-40B4-BE49-F238E27FC236}">
                <a16:creationId xmlns:a16="http://schemas.microsoft.com/office/drawing/2014/main" id="{832ABE5C-EA41-43AF-B530-E876A3FF4CCD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rcRect l="32054" r="33537" b="1"/>
          <a:stretch/>
        </p:blipFill>
        <p:spPr>
          <a:xfrm>
            <a:off x="20" y="-17929"/>
            <a:ext cx="4206220" cy="687592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1EA4EF38-9AC8-81A3-0816-15E85D192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6968" y="914400"/>
            <a:ext cx="6627924" cy="130759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Fontes de dados e coleta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A5FFA330-ADF8-72A5-9D8F-A3B1B2FBD274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4866968" y="2221992"/>
            <a:ext cx="6627924" cy="3739896"/>
          </a:xfrm>
        </p:spPr>
        <p:txBody>
          <a:bodyPr>
            <a:normAutofit/>
          </a:bodyPr>
          <a:lstStyle/>
          <a:p>
            <a:pPr marL="0" indent="0">
              <a:spcBef>
                <a:spcPts val="2500"/>
              </a:spcBef>
              <a:buNone/>
            </a:pPr>
            <a:r>
              <a:rPr lang="pt-BR" sz="1400" b="1"/>
              <a:t>Bancos de dados</a:t>
            </a:r>
          </a:p>
          <a:p>
            <a:pPr marL="0" lvl="1" indent="0">
              <a:buNone/>
            </a:pPr>
            <a:r>
              <a:rPr lang="pt-BR" sz="1400"/>
              <a:t>Bancos de dados são uma fonte comum de dados. Eles armazenam informações em tabelas e são usados para coletar, armazenar e recuperar informações de forma estruturada.</a:t>
            </a:r>
          </a:p>
          <a:p>
            <a:pPr marL="0" indent="0">
              <a:spcBef>
                <a:spcPts val="2500"/>
              </a:spcBef>
              <a:buNone/>
            </a:pPr>
            <a:r>
              <a:rPr lang="pt-BR" sz="1400" b="1"/>
              <a:t>Arquivos CSV</a:t>
            </a:r>
          </a:p>
          <a:p>
            <a:pPr marL="0" lvl="1" indent="0">
              <a:buNone/>
            </a:pPr>
            <a:r>
              <a:rPr lang="pt-BR" sz="1400"/>
              <a:t>Arquivos CSV são uma forma comum de compartilhar dados entre diferentes aplicativos. Eles são usados para armazenar grandes quantidades de dados em um formato de arquivo de texto simples.</a:t>
            </a:r>
          </a:p>
          <a:p>
            <a:pPr marL="0" indent="0">
              <a:spcBef>
                <a:spcPts val="2500"/>
              </a:spcBef>
              <a:buNone/>
            </a:pPr>
            <a:r>
              <a:rPr lang="pt-BR" sz="1400" b="1"/>
              <a:t>APIs</a:t>
            </a:r>
          </a:p>
          <a:p>
            <a:pPr marL="0" lvl="1" indent="0">
              <a:buNone/>
            </a:pPr>
            <a:r>
              <a:rPr lang="pt-BR" sz="1400"/>
              <a:t>As APIs são uma forma popular de coletar dados na era digital. Elas permitem que os desenvolvedores acessem dados de outras empresas e usem esses dados em seus próprios aplicativos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DF57B02-07BB-407B-BB36-06D9C64A67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917665" y="722376"/>
            <a:ext cx="6476356" cy="0"/>
          </a:xfrm>
          <a:prstGeom prst="line">
            <a:avLst/>
          </a:prstGeom>
          <a:ln w="444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6855964-C920-48EB-8804-74291211C8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917665" y="6144768"/>
            <a:ext cx="647635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917977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hronicleVTI">
  <a:themeElements>
    <a:clrScheme name="Chronicle">
      <a:dk1>
        <a:srgbClr val="000000"/>
      </a:dk1>
      <a:lt1>
        <a:srgbClr val="FFFFFF"/>
      </a:lt1>
      <a:dk2>
        <a:srgbClr val="1C1C32"/>
      </a:dk2>
      <a:lt2>
        <a:srgbClr val="F8F4F1"/>
      </a:lt2>
      <a:accent1>
        <a:srgbClr val="734B67"/>
      </a:accent1>
      <a:accent2>
        <a:srgbClr val="959EBB"/>
      </a:accent2>
      <a:accent3>
        <a:srgbClr val="596781"/>
      </a:accent3>
      <a:accent4>
        <a:srgbClr val="7F6E8C"/>
      </a:accent4>
      <a:accent5>
        <a:srgbClr val="DB9A8F"/>
      </a:accent5>
      <a:accent6>
        <a:srgbClr val="C29AB1"/>
      </a:accent6>
      <a:hlink>
        <a:srgbClr val="778BA2"/>
      </a:hlink>
      <a:folHlink>
        <a:srgbClr val="A27C99"/>
      </a:folHlink>
    </a:clrScheme>
    <a:fontScheme name="Univers Calisto">
      <a:majorFont>
        <a:latin typeface="Univers Condensed"/>
        <a:ea typeface=""/>
        <a:cs typeface=""/>
      </a:majorFont>
      <a:minorFont>
        <a:latin typeface="Calisto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12700" cap="flat" cmpd="sng" algn="ctr">
          <a:noFill/>
          <a:prstDash val="solid"/>
          <a:miter lim="800000"/>
        </a:ln>
        <a:effectLst/>
        <a:extLst>
          <a:ext uri="{91240B29-F687-4F45-9708-019B960494DF}">
            <a14:hiddenLine xmlns:a14="http://schemas.microsoft.com/office/drawing/2010/main" w="12700" cap="flat" cmpd="sng" algn="ctr">
              <a:solidFill>
                <a:schemeClr val="accent1">
                  <a:shade val="50000"/>
                </a:schemeClr>
              </a:solidFill>
              <a:prstDash val="solid"/>
              <a:miter lim="800000"/>
            </a14:hiddenLine>
          </a:ext>
        </a:extLst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hronicleVTI" id="{508E4D90-5116-4BF0-876B-3F422DD1F65F}" vid="{AA21DC3D-92A8-43A4-8358-ED428371CD55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2</TotalTime>
  <Words>3815</Words>
  <Application>Microsoft Office PowerPoint</Application>
  <PresentationFormat>Widescreen</PresentationFormat>
  <Paragraphs>255</Paragraphs>
  <Slides>36</Slides>
  <Notes>36</Notes>
  <HiddenSlides>6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36</vt:i4>
      </vt:variant>
    </vt:vector>
  </HeadingPairs>
  <TitlesOfParts>
    <vt:vector size="45" baseType="lpstr">
      <vt:lpstr>Aptos</vt:lpstr>
      <vt:lpstr>Arial</vt:lpstr>
      <vt:lpstr>Calisto MT</vt:lpstr>
      <vt:lpstr>Consolas</vt:lpstr>
      <vt:lpstr>SuisseIntl</vt:lpstr>
      <vt:lpstr>Trebuchet MS</vt:lpstr>
      <vt:lpstr>Univers Condensed</vt:lpstr>
      <vt:lpstr>ChronicleVTI</vt:lpstr>
      <vt:lpstr>Slide do think-cell</vt:lpstr>
      <vt:lpstr>TRABALHO FINAL DE CIÊNCIA DE DADOS: “Previsão de Pouso do Primeiro Estágio do Falcon 9 da spaceX”</vt:lpstr>
      <vt:lpstr>Tópicos a serem abordados</vt:lpstr>
      <vt:lpstr>APRESENTAÇÃO- GRUPO 5</vt:lpstr>
      <vt:lpstr>Falcon 9 </vt:lpstr>
      <vt:lpstr>Principais CARACTERÍSTICAS</vt:lpstr>
      <vt:lpstr>LANÇAMENTO &amp; ATERRISSAGEM</vt:lpstr>
      <vt:lpstr>eventos analisados e diferencial competitivo</vt:lpstr>
      <vt:lpstr>Coleta e Preparação dos Dados</vt:lpstr>
      <vt:lpstr>Fontes de dados e coleta</vt:lpstr>
      <vt:lpstr>Limpeza e pré-processamento dos dados</vt:lpstr>
      <vt:lpstr>Tratamento de Valores Ausentes e Outliers</vt:lpstr>
      <vt:lpstr>Análise Exploratória de Dados (AED)</vt:lpstr>
      <vt:lpstr>Definição e objetivo da AED</vt:lpstr>
      <vt:lpstr>Importância na ciência de dados</vt:lpstr>
      <vt:lpstr>Principais etapas e técnicas</vt:lpstr>
      <vt:lpstr>Técnicas de Visualização de Dados</vt:lpstr>
      <vt:lpstr>PRINCIPAIS Gráficos e suas aplicações</vt:lpstr>
      <vt:lpstr>Interpretação de gráficos e diagramas</vt:lpstr>
      <vt:lpstr>GRÁFICOS e DESCOBERTAS PARA O ESTUDO DE CASO</vt:lpstr>
      <vt:lpstr>Ferramentas utilizadas</vt:lpstr>
      <vt:lpstr>PRE-FLIGHT CHECK</vt:lpstr>
      <vt:lpstr>GRAFICO DE LINHA</vt:lpstr>
      <vt:lpstr>HISTOGRAMA</vt:lpstr>
      <vt:lpstr>PONTOS - Dispersão</vt:lpstr>
      <vt:lpstr>PONTOS - Dispersão</vt:lpstr>
      <vt:lpstr>PONTOS - Dispersão</vt:lpstr>
      <vt:lpstr>PONTOS - Dispersão</vt:lpstr>
      <vt:lpstr>BOX-PLOT</vt:lpstr>
      <vt:lpstr>Conclusões DA AED POR GRÁFICOS</vt:lpstr>
      <vt:lpstr>Medidas de tendência central</vt:lpstr>
      <vt:lpstr>Medidas de dispersão</vt:lpstr>
      <vt:lpstr>Distribuição de Frequência</vt:lpstr>
      <vt:lpstr>Estudo de correlações e relações</vt:lpstr>
      <vt:lpstr>Detecção de padrões e relações</vt:lpstr>
      <vt:lpstr>Utilização de matrizes de correlação</vt:lpstr>
      <vt:lpstr>Conclusã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exandre Fettermann Coutinho</dc:creator>
  <cp:lastModifiedBy>Alexandre Fettermann Coutinho</cp:lastModifiedBy>
  <cp:revision>1</cp:revision>
  <dcterms:created xsi:type="dcterms:W3CDTF">2024-11-21T10:34:21Z</dcterms:created>
  <dcterms:modified xsi:type="dcterms:W3CDTF">2024-11-22T19:16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40b9f7d-8e3a-482f-9702-4b7ffc40985a_Enabled">
    <vt:lpwstr>true</vt:lpwstr>
  </property>
  <property fmtid="{D5CDD505-2E9C-101B-9397-08002B2CF9AE}" pid="3" name="MSIP_Label_140b9f7d-8e3a-482f-9702-4b7ffc40985a_SetDate">
    <vt:lpwstr>2024-11-21T10:37:36Z</vt:lpwstr>
  </property>
  <property fmtid="{D5CDD505-2E9C-101B-9397-08002B2CF9AE}" pid="4" name="MSIP_Label_140b9f7d-8e3a-482f-9702-4b7ffc40985a_Method">
    <vt:lpwstr>Privileged</vt:lpwstr>
  </property>
  <property fmtid="{D5CDD505-2E9C-101B-9397-08002B2CF9AE}" pid="5" name="MSIP_Label_140b9f7d-8e3a-482f-9702-4b7ffc40985a_Name">
    <vt:lpwstr>Pública</vt:lpwstr>
  </property>
  <property fmtid="{D5CDD505-2E9C-101B-9397-08002B2CF9AE}" pid="6" name="MSIP_Label_140b9f7d-8e3a-482f-9702-4b7ffc40985a_SiteId">
    <vt:lpwstr>5b6f6241-9a57-4be4-8e50-1dfa72e79a57</vt:lpwstr>
  </property>
  <property fmtid="{D5CDD505-2E9C-101B-9397-08002B2CF9AE}" pid="7" name="MSIP_Label_140b9f7d-8e3a-482f-9702-4b7ffc40985a_ActionId">
    <vt:lpwstr>eef98c02-c87f-4a0e-8c00-44cb4ba5335e</vt:lpwstr>
  </property>
  <property fmtid="{D5CDD505-2E9C-101B-9397-08002B2CF9AE}" pid="8" name="MSIP_Label_140b9f7d-8e3a-482f-9702-4b7ffc40985a_ContentBits">
    <vt:lpwstr>2</vt:lpwstr>
  </property>
  <property fmtid="{D5CDD505-2E9C-101B-9397-08002B2CF9AE}" pid="9" name="ClassificationContentMarkingFooterLocations">
    <vt:lpwstr>ChronicleVTI:10</vt:lpwstr>
  </property>
  <property fmtid="{D5CDD505-2E9C-101B-9397-08002B2CF9AE}" pid="10" name="ClassificationContentMarkingFooterText">
    <vt:lpwstr>PÚBLICA</vt:lpwstr>
  </property>
</Properties>
</file>